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slideLayouts/slideLayout307.xml" ContentType="application/vnd.openxmlformats-officedocument.presentationml.slideLayout+xml"/>
  <Override PartName="/ppt/tags/tag569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ags/tag424.xml" ContentType="application/vnd.openxmlformats-officedocument.presentationml.tags+xml"/>
  <Override PartName="/ppt/slideLayouts/slideLayout332.xml" ContentType="application/vnd.openxmlformats-officedocument.presentationml.slideLayout+xml"/>
  <Override PartName="/ppt/tags/tag610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63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ags/tag594.xml" ContentType="application/vnd.openxmlformats-officedocument.presentationml.tags+xml"/>
  <Override PartName="/ppt/diagrams/layout9.xml" ContentType="application/vnd.openxmlformats-officedocument.drawingml.diagramLayout+xml"/>
  <Default Extension="xml" ContentType="application/xml"/>
  <Override PartName="/ppt/slides/slide50.xml" ContentType="application/vnd.openxmlformats-officedocument.presentationml.slide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slideLayouts/slideLayout247.xml" ContentType="application/vnd.openxmlformats-officedocument.presentationml.slideLayout+xml"/>
  <Override PartName="/ppt/tags/tag525.xml" ContentType="application/vnd.openxmlformats-officedocument.presentationml.tags+xml"/>
  <Override PartName="/ppt/notesSlides/notesSlide16.xml" ContentType="application/vnd.openxmlformats-officedocument.presentationml.notesSlide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364.xml" ContentType="application/vnd.openxmlformats-officedocument.presentationml.tags+xml"/>
  <Override PartName="/ppt/slideLayouts/slideLayout433.xml" ContentType="application/vnd.openxmlformats-officedocument.presentationml.slideLayout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slideLayouts/slideLayout272.xml" ContentType="application/vnd.openxmlformats-officedocument.presentationml.slideLayout+xml"/>
  <Override PartName="/ppt/tags/tag550.xml" ContentType="application/vnd.openxmlformats-officedocument.presentationml.tags+xml"/>
  <Override PartName="/ppt/tags/tag695.xml" ContentType="application/vnd.openxmlformats-officedocument.presentationml.tags+xml"/>
  <Override PartName="/ppt/tags/tag279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ags/tag626.xml" ContentType="application/vnd.openxmlformats-officedocument.presentationml.tags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34.xml" ContentType="application/vnd.openxmlformats-officedocument.presentationml.tags+xml"/>
  <Override PartName="/ppt/slideLayouts/slideLayout187.xml" ContentType="application/vnd.openxmlformats-officedocument.presentationml.slideLayout+xml"/>
  <Override PartName="/ppt/tags/tag320.xml" ContentType="application/vnd.openxmlformats-officedocument.presentationml.tags+xml"/>
  <Override PartName="/ppt/tags/tag465.xml" ContentType="application/vnd.openxmlformats-officedocument.presentationml.tags+xml"/>
  <Override PartName="/ppt/slideLayouts/slideLayout373.xml" ContentType="application/vnd.openxmlformats-officedocument.presentationml.slideLayout+xml"/>
  <Override PartName="/ppt/slides/slide66.xml" ContentType="application/vnd.openxmlformats-officedocument.presentationml.slide+xml"/>
  <Default Extension="png" ContentType="image/png"/>
  <Override PartName="/ppt/slideLayouts/slideLayout118.xml" ContentType="application/vnd.openxmlformats-officedocument.presentationml.slideLayout+xml"/>
  <Override PartName="/ppt/tags/tag651.xml" ContentType="application/vnd.openxmlformats-officedocument.presentationml.tag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304.xml" ContentType="application/vnd.openxmlformats-officedocument.presentationml.slideLayout+xml"/>
  <Override PartName="/ppt/tags/tag490.xml" ContentType="application/vnd.openxmlformats-officedocument.presentationml.tags+xml"/>
  <Override PartName="/ppt/slideLayouts/slideLayout449.xml" ContentType="application/vnd.openxmlformats-officedocument.presentationml.slideLayout+xml"/>
  <Override PartName="/ppt/diagrams/quickStyle3.xml" ContentType="application/vnd.openxmlformats-officedocument.drawingml.diagramStyle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ags/tag235.xml" ContentType="application/vnd.openxmlformats-officedocument.presentationml.tags+xml"/>
  <Override PartName="/ppt/tags/tag421.xml" ContentType="application/vnd.openxmlformats-officedocument.presentationml.tags+xml"/>
  <Override PartName="/ppt/slideLayouts/slideLayout288.xml" ContentType="application/vnd.openxmlformats-officedocument.presentationml.slideLayout+xml"/>
  <Override PartName="/ppt/tags/tag566.xml" ContentType="application/vnd.openxmlformats-officedocument.presentationml.tags+xml"/>
  <Override PartName="/ppt/slideLayouts/slideLayout474.xml" ContentType="application/vnd.openxmlformats-officedocument.presentationml.slideLayout+xml"/>
  <Override PartName="/ppt/slides/slide22.xml" ContentType="application/vnd.openxmlformats-officedocument.presentationml.slide+xml"/>
  <Override PartName="/ppt/tags/tag260.xml" ContentType="application/vnd.openxmlformats-officedocument.presentationml.tags+xml"/>
  <Override PartName="/ppt/slideLayouts/slideLayout219.xml" ContentType="application/vnd.openxmlformats-officedocument.presentationml.slideLayout+xml"/>
  <Override PartName="/ppt/tags/tag591.xml" ContentType="application/vnd.openxmlformats-officedocument.presentationml.tags+xml"/>
  <Override PartName="/ppt/diagrams/layout6.xml" ContentType="application/vnd.openxmlformats-officedocument.drawingml.diagramLayout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336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ags/tag667.xml" ContentType="application/vnd.openxmlformats-officedocument.presentationml.tags+xml"/>
  <Override PartName="/ppt/notesSlides/notesSlide13.xml" ContentType="application/vnd.openxmlformats-officedocument.presentationml.notesSlide+xml"/>
  <Override PartName="/ppt/tags/tag175.xml" ContentType="application/vnd.openxmlformats-officedocument.presentationml.tags+xml"/>
  <Override PartName="/ppt/slideLayouts/slideLayout244.xml" ContentType="application/vnd.openxmlformats-officedocument.presentationml.slideLayout+xml"/>
  <Override PartName="/ppt/tags/tag522.xml" ContentType="application/vnd.openxmlformats-officedocument.presentationml.tags+xml"/>
  <Override PartName="/ppt/slideLayouts/slideLayout430.xml" ContentType="application/vnd.openxmlformats-officedocument.presentationml.slideLayout+xml"/>
  <Override PartName="/ppt/diagrams/drawing8.xml" ContentType="application/vnd.ms-office.drawingml.diagramDrawing+xml"/>
  <Override PartName="/ppt/tags/tag60.xml" ContentType="application/vnd.openxmlformats-officedocument.presentationml.tags+xml"/>
  <Override PartName="/ppt/tags/tag361.xml" ContentType="application/vnd.openxmlformats-officedocument.presentationml.tags+xml"/>
  <Override PartName="/ppt/tags/tag692.xml" ContentType="application/vnd.openxmlformats-officedocument.presentationml.tags+xml"/>
  <Override PartName="/ppt/tags/tag106.xml" ContentType="application/vnd.openxmlformats-officedocument.presentationml.tags+xml"/>
  <Override PartName="/ppt/slideLayouts/slideLayout159.xml" ContentType="application/vnd.openxmlformats-officedocument.presentationml.slideLayout+xml"/>
  <Override PartName="/ppt/tags/tag437.xml" ContentType="application/vnd.openxmlformats-officedocument.presentationml.tags+xml"/>
  <Override PartName="/ppt/slideLayouts/slideLayout345.xml" ContentType="application/vnd.openxmlformats-officedocument.presentationml.slideLayout+xml"/>
  <Override PartName="/ppt/tags/tag623.xml" ContentType="application/vnd.openxmlformats-officedocument.presentationml.tags+xml"/>
  <Override PartName="/ppt/notesSlides/notesSlide4.xml" ContentType="application/vnd.openxmlformats-officedocument.presentationml.notesSlide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tags/tag276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462.xml" ContentType="application/vnd.openxmlformats-officedocument.presentationml.tags+xml"/>
  <Default Extension="svg" ContentType="image/svg+xml"/>
  <Override PartName="/ppt/slideLayouts/slideLayout37.xml" ContentType="application/vnd.openxmlformats-officedocument.presentationml.slideLayout+xml"/>
  <Override PartName="/ppt/tags/tag207.xml" ContentType="application/vnd.openxmlformats-officedocument.presentationml.tags+xml"/>
  <Override PartName="/ppt/slideLayouts/slideLayout370.xml" ContentType="application/vnd.openxmlformats-officedocument.presentationml.slideLayout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ags/tag538.xml" ContentType="application/vnd.openxmlformats-officedocument.presentationml.tags+xml"/>
  <Override PartName="/ppt/slideLayouts/slideLayout446.xml" ContentType="application/vnd.openxmlformats-officedocument.presentationml.slideLayout+xml"/>
  <Override PartName="/ppt/tags/tag76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slideLayouts/slideLayout285.xml" ContentType="application/vnd.openxmlformats-officedocument.presentationml.slideLayout+xml"/>
  <Override PartName="/ppt/tags/tag563.xml" ContentType="application/vnd.openxmlformats-officedocument.presentationml.tags+xml"/>
  <Override PartName="/ppt/tags/tag308.xml" ContentType="application/vnd.openxmlformats-officedocument.presentationml.tags+xml"/>
  <Override PartName="/ppt/tags/tag639.xml" ContentType="application/vnd.openxmlformats-officedocument.presentationml.tags+xml"/>
  <Override PartName="/ppt/slideLayouts/slideLayout471.xml" ContentType="application/vnd.openxmlformats-officedocument.presentationml.slideLayout+xml"/>
  <Override PartName="/ppt/tags/tag147.xml" ContentType="application/vnd.openxmlformats-officedocument.presentationml.tags+xml"/>
  <Override PartName="/ppt/slideLayouts/slideLayout216.xml" ContentType="application/vnd.openxmlformats-officedocument.presentationml.slideLayout+xml"/>
  <Override PartName="/ppt/tags/tag478.xml" ContentType="application/vnd.openxmlformats-officedocument.presentationml.tags+xml"/>
  <Override PartName="/ppt/slideLayouts/slideLayout402.xml" ContentType="application/vnd.openxmlformats-officedocument.presentationml.slideLayout+xml"/>
  <Override PartName="/ppt/diagrams/layout3.xml" ContentType="application/vnd.openxmlformats-officedocument.drawingml.diagramLayout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386.xml" ContentType="application/vnd.openxmlformats-officedocument.presentationml.slideLayout+xml"/>
  <Override PartName="/ppt/tags/tag664.xml" ContentType="application/vnd.openxmlformats-officedocument.presentationml.tags+xml"/>
  <Override PartName="/ppt/notesSlides/notesSlide10.xml" ContentType="application/vnd.openxmlformats-officedocument.presentationml.notesSlide+xml"/>
  <Override PartName="/ppt/slideLayouts/slideLayout78.xml" ContentType="application/vnd.openxmlformats-officedocument.presentationml.slideLayout+xml"/>
  <Override PartName="/ppt/tags/tag172.xml" ContentType="application/vnd.openxmlformats-officedocument.presentationml.tags+xml"/>
  <Override PartName="/ppt/tags/tag409.xml" ContentType="application/vnd.openxmlformats-officedocument.presentationml.tags+xml"/>
  <Override PartName="/ppt/slideLayouts/slideLayout317.xml" ContentType="application/vnd.openxmlformats-officedocument.presentationml.slideLayout+xml"/>
  <Override PartName="/ppt/diagrams/drawing5.xml" ContentType="application/vnd.ms-office.drawingml.diagramDrawing+xml"/>
  <Override PartName="/ppt/tags/tag103.xml" ContentType="application/vnd.openxmlformats-officedocument.presentationml.tags+xml"/>
  <Override PartName="/ppt/tags/tag248.xml" ContentType="application/vnd.openxmlformats-officedocument.presentationml.tags+xml"/>
  <Override PartName="/ppt/slideLayouts/slideLayout156.xml" ContentType="application/vnd.openxmlformats-officedocument.presentationml.slideLayout+xml"/>
  <Override PartName="/ppt/tags/tag434.xml" ContentType="application/vnd.openxmlformats-officedocument.presentationml.tags+xml"/>
  <Override PartName="/ppt/tags/tag579.xml" ContentType="application/vnd.openxmlformats-officedocument.presentationml.tags+xml"/>
  <Override PartName="/ppt/notesSlides/notesSlide1.xml" ContentType="application/vnd.openxmlformats-officedocument.presentationml.notesSlide+xml"/>
  <Override PartName="/ppt/tags/tag273.xml" ContentType="application/vnd.openxmlformats-officedocument.presentationml.tags+xml"/>
  <Override PartName="/ppt/slideLayouts/slideLayout342.xml" ContentType="application/vnd.openxmlformats-officedocument.presentationml.slideLayout+xml"/>
  <Override PartName="/ppt/tags/tag620.xml" ContentType="application/vnd.openxmlformats-officedocument.presentationml.tags+xml"/>
  <Override PartName="/ppt/slides/slide35.xml" ContentType="application/vnd.openxmlformats-officedocument.presentationml.slide+xml"/>
  <Override PartName="/ppt/slideLayouts/slideLayout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s/slide60.xml" ContentType="application/vnd.openxmlformats-officedocument.presentationml.slide+xml"/>
  <Override PartName="/ppt/tags/tag48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349.xml" ContentType="application/vnd.openxmlformats-officedocument.presentationml.tags+xml"/>
  <Override PartName="/ppt/slideLayouts/slideLayout257.xml" ContentType="application/vnd.openxmlformats-officedocument.presentationml.slideLayout+xml"/>
  <Override PartName="/ppt/tags/tag535.xml" ContentType="application/vnd.openxmlformats-officedocument.presentationml.tags+xml"/>
  <Override PartName="/ppt/diagrams/data9.xml" ContentType="application/vnd.openxmlformats-officedocument.drawingml.diagramData+xml"/>
  <Override PartName="/ppt/tags/tag73.xml" ContentType="application/vnd.openxmlformats-officedocument.presentationml.tags+xml"/>
  <Override PartName="/ppt/tags/tag374.xml" ContentType="application/vnd.openxmlformats-officedocument.presentationml.tags+xml"/>
  <Override PartName="/ppt/theme/theme17.xml" ContentType="application/vnd.openxmlformats-officedocument.theme+xml"/>
  <Override PartName="/ppt/slideLayouts/slideLayout443.xml" ContentType="application/vnd.openxmlformats-officedocument.presentationml.slideLayout+xml"/>
  <Override PartName="/ppt/slideMasters/slideMaster21.xml" ContentType="application/vnd.openxmlformats-officedocument.presentationml.slideMaster+xml"/>
  <Override PartName="/ppt/tags/tag119.xml" ContentType="application/vnd.openxmlformats-officedocument.presentationml.tags+xml"/>
  <Override PartName="/ppt/slideLayouts/slideLayout282.xml" ContentType="application/vnd.openxmlformats-officedocument.presentationml.slideLayout+xml"/>
  <Override PartName="/ppt/tags/tag560.xml" ContentType="application/vnd.openxmlformats-officedocument.presentationml.tags+xml"/>
  <Override PartName="/ppt/tags/tag289.xml" ContentType="application/vnd.openxmlformats-officedocument.presentationml.tags+xml"/>
  <Override PartName="/ppt/theme/theme9.xml" ContentType="application/vnd.openxmlformats-officedocument.theme+xml"/>
  <Override PartName="/ppt/tags/tag305.xml" ContentType="application/vnd.openxmlformats-officedocument.presentationml.tags+xml"/>
  <Override PartName="/ppt/slideLayouts/slideLayout213.xml" ContentType="application/vnd.openxmlformats-officedocument.presentationml.slideLayout+xml"/>
  <Override PartName="/ppt/slideLayouts/slideLayout358.xml" ContentType="application/vnd.openxmlformats-officedocument.presentationml.slideLayout+xml"/>
  <Override PartName="/ppt/tags/tag636.xml" ContentType="application/vnd.openxmlformats-officedocument.presentationml.tags+xml"/>
  <Override PartName="/ppt/tags/tag144.xml" ContentType="application/vnd.openxmlformats-officedocument.presentationml.tags+xml"/>
  <Override PartName="/ppt/slideLayouts/slideLayout197.xml" ContentType="application/vnd.openxmlformats-officedocument.presentationml.slideLayout+xml"/>
  <Override PartName="/ppt/tags/tag330.xml" ContentType="application/vnd.openxmlformats-officedocument.presentationml.tags+xml"/>
  <Override PartName="/ppt/tags/tag475.xml" ContentType="application/vnd.openxmlformats-officedocument.presentationml.tags+xml"/>
  <Override PartName="/ppt/slideLayouts/slideLayout383.xml" ContentType="application/vnd.openxmlformats-officedocument.presentationml.slideLayout+xml"/>
  <Override PartName="/ppt/tags/tag661.xml" ContentType="application/vnd.openxmlformats-officedocument.presentationml.tags+xml"/>
  <Override PartName="/ppt/slideLayouts/slideLayout128.xml" ContentType="application/vnd.openxmlformats-officedocument.presentationml.slideLayout+xml"/>
  <Override PartName="/ppt/tags/tag406.xml" ContentType="application/vnd.openxmlformats-officedocument.presentationml.tags+xml"/>
  <Override PartName="/ppt/slideLayouts/slideLayout459.xml" ContentType="application/vnd.openxmlformats-officedocument.presentationml.slideLayout+xml"/>
  <Override PartName="/ppt/diagrams/drawing2.xml" ContentType="application/vnd.ms-office.drawingml.diagramDrawing+xml"/>
  <Override PartName="/ppt/tags/tag89.xml" ContentType="application/vnd.openxmlformats-officedocument.presentationml.tags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slideLayouts/slideLayout298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ags/tag576.xml" ContentType="application/vnd.openxmlformats-officedocument.presentationml.tags+xml"/>
  <Override PartName="/ppt/tags/tag100.xml" ContentType="application/vnd.openxmlformats-officedocument.presentationml.tags+xml"/>
  <Override PartName="/ppt/slideLayouts/slideLayout153.xml" ContentType="application/vnd.openxmlformats-officedocument.presentationml.slideLayout+xml"/>
  <Override PartName="/ppt/tags/tag431.xml" ContentType="application/vnd.openxmlformats-officedocument.presentationml.tags+xml"/>
  <Override PartName="/ppt/slides/slide32.xml" ContentType="application/vnd.openxmlformats-officedocument.presentationml.slide+xml"/>
  <Override PartName="/ppt/tags/tag270.xml" ContentType="application/vnd.openxmlformats-officedocument.presentationml.tags+xml"/>
  <Override PartName="/ppt/slideLayouts/slideLayout229.xml" ContentType="application/vnd.openxmlformats-officedocument.presentationml.slideLayout+xml"/>
  <Override PartName="/ppt/tags/tag507.xml" ContentType="application/vnd.openxmlformats-officedocument.presentationml.tags+xml"/>
  <Override PartName="/ppt/slideLayouts/slideLayout415.xml" ContentType="application/vnd.openxmlformats-officedocument.presentationml.slideLayout+xml"/>
  <Override PartName="/ppt/charts/colors2.xml" ContentType="application/vnd.ms-office.chartcolorstyle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slideLayouts/slideLayout254.xml" ContentType="application/vnd.openxmlformats-officedocument.presentationml.slideLayout+xml"/>
  <Override PartName="/ppt/tags/tag532.xml" ContentType="application/vnd.openxmlformats-officedocument.presentationml.tags+xml"/>
  <Override PartName="/ppt/slideLayouts/slideLayout399.xml" ContentType="application/vnd.openxmlformats-officedocument.presentationml.slideLayout+xml"/>
  <Override PartName="/ppt/tags/tag677.xml" ContentType="application/vnd.openxmlformats-officedocument.presentationml.tags+xml"/>
  <Override PartName="/ppt/diagrams/data6.xml" ContentType="application/vnd.openxmlformats-officedocument.drawingml.diagramData+xml"/>
  <Override PartName="/ppt/tags/tag185.xml" ContentType="application/vnd.openxmlformats-officedocument.presentationml.tags+xml"/>
  <Override PartName="/ppt/tags/tag371.xml" ContentType="application/vnd.openxmlformats-officedocument.presentationml.tags+xml"/>
  <Override PartName="/ppt/theme/theme14.xml" ContentType="application/vnd.openxmlformats-officedocument.theme+xml"/>
  <Override PartName="/ppt/slideLayouts/slideLayout440.xml" ContentType="application/vnd.openxmlformats-officedocument.presentationml.slideLayout+xml"/>
  <Override PartName="/ppt/diagrams/colors8.xml" ContentType="application/vnd.openxmlformats-officedocument.drawingml.diagramColor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608.xml" ContentType="application/vnd.openxmlformats-officedocument.presentationml.tags+xml"/>
  <Override PartName="/ppt/theme/theme6.xml" ContentType="application/vnd.openxmlformats-officedocument.theme+xml"/>
  <Override PartName="/ppt/slideLayouts/slideLayout169.xml" ContentType="application/vnd.openxmlformats-officedocument.presentationml.slideLayout+xml"/>
  <Override PartName="/ppt/tags/tag302.xml" ContentType="application/vnd.openxmlformats-officedocument.presentationml.tags+xml"/>
  <Override PartName="/ppt/slideLayouts/slideLayout210.xml" ContentType="application/vnd.openxmlformats-officedocument.presentationml.slideLayout+xml"/>
  <Override PartName="/ppt/tags/tag447.xml" ContentType="application/vnd.openxmlformats-officedocument.presentationml.tags+xml"/>
  <Override PartName="/ppt/slideLayouts/slideLayout355.xml" ContentType="application/vnd.openxmlformats-officedocument.presentationml.slideLayout+xml"/>
  <Override PartName="/ppt/tags/tag633.xml" ContentType="application/vnd.openxmlformats-officedocument.presentationml.tags+xml"/>
  <Override PartName="/ppt/slides/slide48.xml" ContentType="application/vnd.openxmlformats-officedocument.presentationml.slide+xml"/>
  <Override PartName="/ppt/tags/tag141.xml" ContentType="application/vnd.openxmlformats-officedocument.presentationml.tags+xml"/>
  <Override PartName="/ppt/tags/tag286.xml" ContentType="application/vnd.openxmlformats-officedocument.presentationml.tags+xml"/>
  <Override PartName="/ppt/slideLayouts/slideLayout194.xml" ContentType="application/vnd.openxmlformats-officedocument.presentationml.slideLayout+xml"/>
  <Override PartName="/ppt/tags/tag472.xml" ContentType="application/vnd.openxmlformats-officedocument.presentationml.tags+xml"/>
  <Override PartName="/ppt/charts/style1.xml" ContentType="application/vnd.ms-office.chartstyle+xml"/>
  <Override PartName="/ppt/slideLayouts/slideLayout47.xml" ContentType="application/vnd.openxmlformats-officedocument.presentationml.slideLayout+xml"/>
  <Override PartName="/ppt/tags/tag217.xml" ContentType="application/vnd.openxmlformats-officedocument.presentationml.tags+xml"/>
  <Override PartName="/ppt/tags/tag548.xml" ContentType="application/vnd.openxmlformats-officedocument.presentationml.tags+xml"/>
  <Override PartName="/ppt/slideLayouts/slideLayout380.xml" ContentType="application/vnd.openxmlformats-officedocument.presentationml.slideLayout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slideLayouts/slideLayout311.xml" ContentType="application/vnd.openxmlformats-officedocument.presentationml.slideLayout+xml"/>
  <Override PartName="/ppt/slideLayouts/slideLayout456.xml" ContentType="application/vnd.openxmlformats-officedocument.presentationml.slideLayout+xml"/>
  <Override PartName="/ppt/tags/tag242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ags/tag573.xml" ContentType="application/vnd.openxmlformats-officedocument.presentationml.tags+xml"/>
  <Override PartName="/ppt/tags/tag17.xml" ContentType="application/vnd.openxmlformats-officedocument.presentationml.tags+xml"/>
  <Override PartName="/ppt/tags/tag318.xml" ContentType="application/vnd.openxmlformats-officedocument.presentationml.tags+xml"/>
  <Override PartName="/ppt/slideLayouts/slideLayout226.xml" ContentType="application/vnd.openxmlformats-officedocument.presentationml.slideLayout+xml"/>
  <Override PartName="/ppt/tags/tag504.xml" ContentType="application/vnd.openxmlformats-officedocument.presentationml.tags+xml"/>
  <Override PartName="/ppt/tags/tag649.xml" ContentType="application/vnd.openxmlformats-officedocument.presentationml.tags+xml"/>
  <Override PartName="/ppt/slideMasters/slideMaster9.xml" ContentType="application/vnd.openxmlformats-officedocument.presentationml.slideMaster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488.xml" ContentType="application/vnd.openxmlformats-officedocument.presentationml.tags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ags/tag42.xml" ContentType="application/vnd.openxmlformats-officedocument.presentationml.tags+xml"/>
  <Override PartName="/ppt/tags/tag182.xml" ContentType="application/vnd.openxmlformats-officedocument.presentationml.tags+xml"/>
  <Override PartName="/ppt/slideLayouts/slideLayout251.xml" ContentType="application/vnd.openxmlformats-officedocument.presentationml.slideLayout+xml"/>
  <Override PartName="/ppt/tags/tag674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419.xml" ContentType="application/vnd.openxmlformats-officedocument.presentationml.tags+xml"/>
  <Override PartName="/ppt/slideLayouts/slideLayout327.xml" ContentType="application/vnd.openxmlformats-officedocument.presentationml.slideLayout+xml"/>
  <Override PartName="/ppt/tags/tag605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258.xml" ContentType="application/vnd.openxmlformats-officedocument.presentationml.tags+xml"/>
  <Override PartName="/ppt/slideLayouts/slideLayout166.xml" ContentType="application/vnd.openxmlformats-officedocument.presentationml.slideLayout+xml"/>
  <Override PartName="/ppt/tags/tag444.xml" ContentType="application/vnd.openxmlformats-officedocument.presentationml.tags+xml"/>
  <Override PartName="/ppt/tags/tag589.xml" ContentType="application/vnd.openxmlformats-officedocument.presentationml.tags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tags/tag283.xml" ContentType="application/vnd.openxmlformats-officedocument.presentationml.tags+xml"/>
  <Override PartName="/ppt/slideLayouts/slideLayout352.xml" ContentType="application/vnd.openxmlformats-officedocument.presentationml.slideLayout+xml"/>
  <Override PartName="/ppt/tags/tag630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slideLayouts/slideLayout191.xml" ContentType="application/vnd.openxmlformats-officedocument.presentationml.slideLayout+xml"/>
  <Override PartName="/ppt/tags/tag359.xml" ContentType="application/vnd.openxmlformats-officedocument.presentationml.tags+xml"/>
  <Override PartName="/ppt/slideLayouts/slideLayout428.xml" ContentType="application/vnd.openxmlformats-officedocument.presentationml.slideLayout+xml"/>
  <Override PartName="/ppt/tags/tag706.xml" ContentType="application/vnd.openxmlformats-officedocument.presentationml.tags+xml"/>
  <Override PartName="/ppt/slides/slide70.xml" ContentType="application/vnd.openxmlformats-officedocument.presentationml.slide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267.xml" ContentType="application/vnd.openxmlformats-officedocument.presentationml.slideLayout+xml"/>
  <Override PartName="/ppt/tags/tag400.xml" ContentType="application/vnd.openxmlformats-officedocument.presentationml.tags+xml"/>
  <Override PartName="/ppt/tags/tag545.xml" ContentType="application/vnd.openxmlformats-officedocument.presentationml.tags+xml"/>
  <Override PartName="/ppt/slideLayouts/slideLayout453.xml" ContentType="application/vnd.openxmlformats-officedocument.presentationml.slideLayout+xml"/>
  <Override PartName="/ppt/tags/tag83.xml" ContentType="application/vnd.openxmlformats-officedocument.presentationml.tags+xml"/>
  <Override PartName="/ppt/tags/tag384.xml" ContentType="application/vnd.openxmlformats-officedocument.presentationml.tags+xml"/>
  <Override PartName="/ppt/slideLayouts/slideLayout292.xml" ContentType="application/vnd.openxmlformats-officedocument.presentationml.slideLayout+xml"/>
  <Override PartName="/ppt/tags/tag570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129.xml" ContentType="application/vnd.openxmlformats-officedocument.presentationml.tags+xml"/>
  <Override PartName="/ppt/tags/tag315.xml" ContentType="application/vnd.openxmlformats-officedocument.presentationml.tags+xml"/>
  <Override PartName="/ppt/slideLayouts/slideLayout368.xml" ContentType="application/vnd.openxmlformats-officedocument.presentationml.slideLayout+xml"/>
  <Override PartName="/ppt/tags/tag646.xml" ContentType="application/vnd.openxmlformats-officedocument.presentationml.tags+xml"/>
  <Override PartName="/ppt/slideMasters/slideMaster6.xml" ContentType="application/vnd.openxmlformats-officedocument.presentationml.slideMaster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slideLayouts/slideLayout223.xml" ContentType="application/vnd.openxmlformats-officedocument.presentationml.slideLayout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tags/tag340.xml" ContentType="application/vnd.openxmlformats-officedocument.presentationml.tags+xml"/>
  <Override PartName="/ppt/slideLayouts/slideLayout393.xml" ContentType="application/vnd.openxmlformats-officedocument.presentationml.slideLayout+xml"/>
  <Override PartName="/ppt/tags/tag671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416.xml" ContentType="application/vnd.openxmlformats-officedocument.presentationml.tags+xml"/>
  <Override PartName="/ppt/slideLayouts/slideLayout324.xml" ContentType="application/vnd.openxmlformats-officedocument.presentationml.slideLayout+xml"/>
  <Override PartName="/ppt/slideLayouts/slideLayout469.xml" ContentType="application/vnd.openxmlformats-officedocument.presentationml.slideLayout+xml"/>
  <Override PartName="/ppt/diagrams/colors2.xml" ContentType="application/vnd.openxmlformats-officedocument.drawingml.diagramColors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55.xml" ContentType="application/vnd.openxmlformats-officedocument.presentationml.tags+xml"/>
  <Override PartName="/ppt/slideLayouts/slideLayout163.xml" ContentType="application/vnd.openxmlformats-officedocument.presentationml.slideLayout+xml"/>
  <Override PartName="/ppt/tags/tag586.xml" ContentType="application/vnd.openxmlformats-officedocument.presentationml.tags+xml"/>
  <Override PartName="/ppt/tags/tag602.xml" ContentType="application/vnd.openxmlformats-officedocument.presentationml.tags+xml"/>
  <Override PartName="/ppt/slideLayouts/slideLayout16.xml" ContentType="application/vnd.openxmlformats-officedocument.presentationml.slideLayout+xml"/>
  <Override PartName="/ppt/tags/tag280.xml" ContentType="application/vnd.openxmlformats-officedocument.presentationml.tags+xml"/>
  <Override PartName="/ppt/tags/tag441.xml" ContentType="application/vnd.openxmlformats-officedocument.presentationml.tags+xml"/>
  <Override PartName="/ppt/slides/slide42.xml" ContentType="application/vnd.openxmlformats-officedocument.presentationml.slide+xml"/>
  <Override PartName="/ppt/slideLayouts/slideLayout41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ags/tag517.xml" ContentType="application/vnd.openxmlformats-officedocument.presentationml.tags+xml"/>
  <Override PartName="/ppt/slideLayouts/slideLayout425.xml" ContentType="application/vnd.openxmlformats-officedocument.presentationml.slideLayout+xml"/>
  <Override PartName="/ppt/tags/tag703.xml" ContentType="application/vnd.openxmlformats-officedocument.presentationml.tags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56.xml" ContentType="application/vnd.openxmlformats-officedocument.presentationml.tags+xml"/>
  <Override PartName="/ppt/slideLayouts/slideLayout264.xml" ContentType="application/vnd.openxmlformats-officedocument.presentationml.slideLayout+xml"/>
  <Override PartName="/ppt/tags/tag542.xml" ContentType="application/vnd.openxmlformats-officedocument.presentationml.tags+xml"/>
  <Override PartName="/ppt/tags/tag687.xml" ContentType="application/vnd.openxmlformats-officedocument.presentationml.tags+xml"/>
  <Override PartName="/ppt/tags/tag80.xml" ContentType="application/vnd.openxmlformats-officedocument.presentationml.tags+xml"/>
  <Override PartName="/ppt/tags/tag195.xml" ContentType="application/vnd.openxmlformats-officedocument.presentationml.tags+xml"/>
  <Override PartName="/ppt/tags/tag381.xml" ContentType="application/vnd.openxmlformats-officedocument.presentationml.tags+xml"/>
  <Override PartName="/ppt/tags/tag618.xml" ContentType="application/vnd.openxmlformats-officedocument.presentationml.tags+xml"/>
  <Override PartName="/ppt/slideLayouts/slideLayout450.xml" ContentType="application/vnd.openxmlformats-officedocument.presentationml.slideLayout+xml"/>
  <Override PartName="/ppt/theme/theme24.xml" ContentType="application/vnd.openxmlformats-officedocument.theme+xml"/>
  <Override PartName="/ppt/tags/tag126.xml" ContentType="application/vnd.openxmlformats-officedocument.presentationml.tags+xml"/>
  <Override PartName="/ppt/slideLayouts/slideLayout179.xml" ContentType="application/vnd.openxmlformats-officedocument.presentationml.slideLayout+xml"/>
  <Override PartName="/ppt/tags/tag457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365.xml" ContentType="application/vnd.openxmlformats-officedocument.presentationml.slideLayout+xml"/>
  <Override PartName="/ppt/tags/tag643.xml" ContentType="application/vnd.openxmlformats-officedocument.presentationml.tags+xml"/>
  <Override PartName="/ppt/slideMasters/slideMaster3.xml" ContentType="application/vnd.openxmlformats-officedocument.presentationml.slideMaster+xml"/>
  <Override PartName="/ppt/slides/slide58.xml" ContentType="application/vnd.openxmlformats-officedocument.presentationml.slide+xml"/>
  <Override PartName="/ppt/slideLayouts/slideLayout57.xml" ContentType="application/vnd.openxmlformats-officedocument.presentationml.slideLayout+xml"/>
  <Override PartName="/ppt/tags/tag151.xml" ContentType="application/vnd.openxmlformats-officedocument.presentationml.tags+xml"/>
  <Override PartName="/ppt/tags/tag482.xml" ContentType="application/vnd.openxmlformats-officedocument.presentationml.tags+xml"/>
  <Override PartName="/ppt/slideLayouts/slideLayout390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ags/tag227.xml" ContentType="application/vnd.openxmlformats-officedocument.presentationml.tags+xml"/>
  <Override PartName="/ppt/tags/tag413.xml" ContentType="application/vnd.openxmlformats-officedocument.presentationml.tags+xml"/>
  <Override PartName="/ppt/tags/tag558.xml" ContentType="application/vnd.openxmlformats-officedocument.presentationml.tags+xml"/>
  <Override PartName="/ppt/slideMasters/slideMaster19.xml" ContentType="application/vnd.openxmlformats-officedocument.presentationml.slideMaster+xml"/>
  <Override PartName="/ppt/tags/tag96.xml" ContentType="application/vnd.openxmlformats-officedocument.presentationml.tags+xml"/>
  <Override PartName="/ppt/slideLayouts/slideLayout82.xml" ContentType="application/vnd.openxmlformats-officedocument.presentationml.slideLayout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Layouts/slideLayout321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ags/tag583.xml" ContentType="application/vnd.openxmlformats-officedocument.presentationml.tags+xml"/>
  <Override PartName="/ppt/tags/tag27.xml" ContentType="application/vnd.openxmlformats-officedocument.presentationml.tags+xml"/>
  <Override PartName="/ppt/tags/tag328.xml" ContentType="application/vnd.openxmlformats-officedocument.presentationml.tags+xml"/>
  <Override PartName="/ppt/slideLayouts/slideLayout236.xml" ContentType="application/vnd.openxmlformats-officedocument.presentationml.slideLayout+xml"/>
  <Override PartName="/ppt/tags/tag514.xml" ContentType="application/vnd.openxmlformats-officedocument.presentationml.tags+xml"/>
  <Override PartName="/ppt/tags/tag659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slideLayouts/slideLayout422.xml" ContentType="application/vnd.openxmlformats-officedocument.presentationml.slideLayout+xml"/>
  <Override PartName="/ppt/tags/tag684.xml" ContentType="application/vnd.openxmlformats-officedocument.presentationml.tags+xml"/>
  <Override PartName="/ppt/tags/tag700.xml" ContentType="application/vnd.openxmlformats-officedocument.presentationml.tags+xml"/>
  <Override PartName="/ppt/tags/tag192.xml" ContentType="application/vnd.openxmlformats-officedocument.presentationml.tags+xml"/>
  <Override PartName="/ppt/slideLayouts/slideLayout261.xml" ContentType="application/vnd.openxmlformats-officedocument.presentationml.slideLayout+xml"/>
  <Override PartName="/ppt/tags/tag429.xml" ContentType="application/vnd.openxmlformats-officedocument.presentationml.tags+xml"/>
  <Override PartName="/ppt/theme/theme21.xml" ContentType="application/vnd.openxmlformats-officedocument.theme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slideLayouts/slideLayout337.xml" ContentType="application/vnd.openxmlformats-officedocument.presentationml.slideLayout+xml"/>
  <Override PartName="/ppt/tags/tag599.xml" ContentType="application/vnd.openxmlformats-officedocument.presentationml.tags+xml"/>
  <Override PartName="/ppt/tags/tag615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176.xml" ContentType="application/vnd.openxmlformats-officedocument.presentationml.slideLayout+xml"/>
  <Override PartName="/ppt/tags/tag454.xml" ContentType="application/vnd.openxmlformats-officedocument.presentationml.tags+xml"/>
  <Override PartName="/ppt/slideLayouts/slideLayout362.xml" ContentType="application/vnd.openxmlformats-officedocument.presentationml.slideLayout+xml"/>
  <Override PartName="/ppt/tags/tag640.xml" ContentType="application/vnd.openxmlformats-officedocument.presentationml.tags+xml"/>
  <Override PartName="/ppt/slides/slide55.xml" ContentType="application/vnd.openxmlformats-officedocument.presentationml.slide+xml"/>
  <Override PartName="/ppt/slideLayouts/slideLayout107.xml" ContentType="application/vnd.openxmlformats-officedocument.presentationml.slideLayout+xml"/>
  <Override PartName="/ppt/tags/tag293.xml" ContentType="application/vnd.openxmlformats-officedocument.presentationml.tags+xml"/>
  <Override PartName="/ppt/slideLayouts/slideLayout438.xml" ContentType="application/vnd.openxmlformats-officedocument.presentationml.slideLayout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224.xml" ContentType="application/vnd.openxmlformats-officedocument.presentationml.tags+xml"/>
  <Override PartName="/ppt/tags/tag369.xml" ContentType="application/vnd.openxmlformats-officedocument.presentationml.tags+xml"/>
  <Override PartName="/ppt/slideLayouts/slideLayout277.xml" ContentType="application/vnd.openxmlformats-officedocument.presentationml.slideLayout+xml"/>
  <Override PartName="/ppt/tags/tag555.xml" ContentType="application/vnd.openxmlformats-officedocument.presentationml.tags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132.xml" ContentType="application/vnd.openxmlformats-officedocument.presentationml.slideLayout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ppt/slideLayouts/slideLayout46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208.xml" ContentType="application/vnd.openxmlformats-officedocument.presentationml.slideLayout+xml"/>
  <Override PartName="/ppt/tags/tag580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325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ags/tag656.xml" ContentType="application/vnd.openxmlformats-officedocument.presentationml.tags+xml"/>
  <Override PartName="/ppt/tags/tag164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diagrams/quickStyle8.xml" ContentType="application/vnd.openxmlformats-officedocument.drawingml.diagramStyle+xml"/>
  <Override PartName="/ppt/tags/tag350.xml" ContentType="application/vnd.openxmlformats-officedocument.presentationml.tags+xml"/>
  <Override PartName="/ppt/slideLayouts/slideLayout309.xml" ContentType="application/vnd.openxmlformats-officedocument.presentationml.slideLayout+xml"/>
  <Override PartName="/ppt/tags/tag681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ags/tag426.xml" ContentType="application/vnd.openxmlformats-officedocument.presentationml.tags+xml"/>
  <Override PartName="/ppt/slideLayouts/slideLayout334.xml" ContentType="application/vnd.openxmlformats-officedocument.presentationml.slideLayout+xml"/>
  <Override PartName="/ppt/tags/tag612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65.xml" ContentType="application/vnd.openxmlformats-officedocument.presentationml.tags+xml"/>
  <Override PartName="/ppt/slideLayouts/slideLayout173.xml" ContentType="application/vnd.openxmlformats-officedocument.presentationml.slideLayout+xml"/>
  <Override PartName="/ppt/tags/tag451.xml" ContentType="application/vnd.openxmlformats-officedocument.presentationml.tags+xml"/>
  <Override PartName="/ppt/tags/tag596.xml" ContentType="application/vnd.openxmlformats-officedocument.presentationml.tags+xml"/>
  <Override PartName="/ppt/slides/slide2.xml" ContentType="application/vnd.openxmlformats-officedocument.presentationml.slide+xml"/>
  <Override PartName="/ppt/slides/slide5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290.xml" ContentType="application/vnd.openxmlformats-officedocument.presentationml.tags+xml"/>
  <Override PartName="/ppt/slideLayouts/slideLayout249.xml" ContentType="application/vnd.openxmlformats-officedocument.presentationml.slideLayout+xml"/>
  <Override PartName="/ppt/tags/tag527.xml" ContentType="application/vnd.openxmlformats-officedocument.presentationml.tags+xml"/>
  <Override PartName="/ppt/notesSlides/notesSlide18.xml" ContentType="application/vnd.openxmlformats-officedocument.presentationml.notesSlide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ags/tag366.xml" ContentType="application/vnd.openxmlformats-officedocument.presentationml.tags+xml"/>
  <Override PartName="/ppt/slideLayouts/slideLayout435.xml" ContentType="application/vnd.openxmlformats-officedocument.presentationml.slideLayout+xml"/>
  <Override PartName="/ppt/tags/tag65.xml" ContentType="application/vnd.openxmlformats-officedocument.presentationml.tags+xml"/>
  <Override PartName="/ppt/tags/tag221.xml" ContentType="application/vnd.openxmlformats-officedocument.presentationml.tags+xml"/>
  <Override PartName="/ppt/slideLayouts/slideLayout274.xml" ContentType="application/vnd.openxmlformats-officedocument.presentationml.slideLayout+xml"/>
  <Override PartName="/ppt/tags/tag552.xml" ContentType="application/vnd.openxmlformats-officedocument.presentationml.tags+xml"/>
  <Override PartName="/ppt/slideLayouts/slideLayout460.xml" ContentType="application/vnd.openxmlformats-officedocument.presentationml.slideLayout+xml"/>
  <Override PartName="/ppt/tags/tag697.xml" ContentType="application/vnd.openxmlformats-officedocument.presentationml.tags+xml"/>
  <Override PartName="/ppt/slideMasters/slideMaster13.xml" ContentType="application/vnd.openxmlformats-officedocument.presentationml.slideMaster+xml"/>
  <Override PartName="/ppt/tags/tag90.xml" ContentType="application/vnd.openxmlformats-officedocument.presentationml.tags+xml"/>
  <Override PartName="/ppt/slideLayouts/slideLayout205.xml" ContentType="application/vnd.openxmlformats-officedocument.presentationml.slideLayout+xml"/>
  <Override PartName="/ppt/tags/tag391.xml" ContentType="application/vnd.openxmlformats-officedocument.presentationml.tags+xml"/>
  <Override PartName="/ppt/tags/tag628.xml" ContentType="application/vnd.openxmlformats-officedocument.presentationml.tags+xml"/>
  <Override PartName="/ppt/notesSlides/notesSlide9.xml" ContentType="application/vnd.openxmlformats-officedocument.presentationml.notesSlide+xml"/>
  <Override PartName="/ppt/tags/tag136.xml" ContentType="application/vnd.openxmlformats-officedocument.presentationml.tags+xml"/>
  <Override PartName="/ppt/slideLayouts/slideLayout189.xml" ContentType="application/vnd.openxmlformats-officedocument.presentationml.slideLayout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slides/slide68.xml" ContentType="application/vnd.openxmlformats-officedocument.presentationml.slide+xml"/>
  <Override PartName="/ppt/tags/tag21.xml" ContentType="application/vnd.openxmlformats-officedocument.presentationml.tags+xml"/>
  <Override PartName="/ppt/tags/tag161.xml" ContentType="application/vnd.openxmlformats-officedocument.presentationml.tags+xml"/>
  <Override PartName="/ppt/slideLayouts/slideLayout230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ags/tag653.xml" ContentType="application/vnd.openxmlformats-officedocument.presentationml.tags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ags/tag492.xml" ContentType="application/vnd.openxmlformats-officedocument.presentationml.tags+xml"/>
  <Override PartName="/ppt/diagrams/quickStyle5.xml" ContentType="application/vnd.openxmlformats-officedocument.drawingml.diagramStyle+xml"/>
  <Override PartName="/ppt/slideLayouts/slideLayout145.xml" ContentType="application/vnd.openxmlformats-officedocument.presentationml.slideLayout+xml"/>
  <Override PartName="/ppt/tags/tag237.xml" ContentType="application/vnd.openxmlformats-officedocument.presentationml.tags+xml"/>
  <Override PartName="/ppt/tags/tag423.xml" ContentType="application/vnd.openxmlformats-officedocument.presentationml.tags+xml"/>
  <Override PartName="/ppt/tags/tag568.xml" ContentType="application/vnd.openxmlformats-officedocument.presentationml.tags+xml"/>
  <Override PartName="/ppt/slides/slide24.xml" ContentType="application/vnd.openxmlformats-officedocument.presentationml.slide+xml"/>
  <Override PartName="/ppt/slideLayouts/slideLayout92.xml" ContentType="application/vnd.openxmlformats-officedocument.presentationml.slideLayout+xml"/>
  <Override PartName="/ppt/tags/tag262.xml" ContentType="application/vnd.openxmlformats-officedocument.presentationml.tags+xml"/>
  <Override PartName="/ppt/slideLayouts/slideLayout331.xml" ContentType="application/vnd.openxmlformats-officedocument.presentationml.slideLayout+xml"/>
  <Override PartName="/ppt/tags/tag593.xml" ContentType="application/vnd.openxmlformats-officedocument.presentationml.tags+xml"/>
  <Override PartName="/ppt/diagrams/layout8.xml" ContentType="application/vnd.openxmlformats-officedocument.drawingml.diagram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slideLayouts/slideLayout170.xml" ContentType="application/vnd.openxmlformats-officedocument.presentationml.slideLayout+xml"/>
  <Override PartName="/ppt/tags/tag338.xml" ContentType="application/vnd.openxmlformats-officedocument.presentationml.tags+xml"/>
  <Override PartName="/ppt/slideLayouts/slideLayout407.xml" ContentType="application/vnd.openxmlformats-officedocument.presentationml.slideLayout+xml"/>
  <Override PartName="/ppt/tags/tag669.xml" ContentType="application/vnd.openxmlformats-officedocument.presentationml.tags+xml"/>
  <Override PartName="/ppt/notesSlides/notesSlide15.xml" ContentType="application/vnd.openxmlformats-officedocument.presentationml.notesSlide+xml"/>
  <Override PartName="/ppt/tags/tag177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ags/tag524.xml" ContentType="application/vnd.openxmlformats-officedocument.presentationml.tags+xml"/>
  <Override PartName="/ppt/slideLayouts/slideLayout432.xml" ContentType="application/vnd.openxmlformats-officedocument.presentationml.slideLayout+xml"/>
  <Override PartName="/ppt/tags/tag62.xml" ContentType="application/vnd.openxmlformats-officedocument.presentationml.tags+xml"/>
  <Override PartName="/ppt/tags/tag363.xml" ContentType="application/vnd.openxmlformats-officedocument.presentationml.tags+xml"/>
  <Override PartName="/ppt/slideLayouts/slideLayout271.xml" ContentType="application/vnd.openxmlformats-officedocument.presentationml.slideLayout+xml"/>
  <Override PartName="/ppt/tags/tag694.xml" ContentType="application/vnd.openxmlformats-officedocument.presentationml.tags+xml"/>
  <Override PartName="/ppt/slideMasters/slideMaster10.xml" ContentType="application/vnd.openxmlformats-officedocument.presentationml.slideMaster+xml"/>
  <Override PartName="/ppt/tags/tag108.xml" ContentType="application/vnd.openxmlformats-officedocument.presentationml.tags+xml"/>
  <Override PartName="/ppt/tags/tag439.xml" ContentType="application/vnd.openxmlformats-officedocument.presentationml.tags+xml"/>
  <Override PartName="/ppt/slideLayouts/slideLayout347.xml" ContentType="application/vnd.openxmlformats-officedocument.presentationml.slideLayout+xml"/>
  <Override PartName="/ppt/notesSlides/notesSlide6.xml" ContentType="application/vnd.openxmlformats-officedocument.presentationml.notesSlide+xml"/>
  <Override PartName="/ppt/tags/tag133.xml" ContentType="application/vnd.openxmlformats-officedocument.presentationml.tags+xml"/>
  <Override PartName="/ppt/tags/tag278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ags/tag625.xml" ContentType="application/vnd.openxmlformats-officedocument.presentationml.tags+xml"/>
  <Override PartName="/ppt/charts/chart2.xml" ContentType="application/vnd.openxmlformats-officedocument.drawingml.chart+xml"/>
  <Override PartName="/ppt/slideLayouts/slideLayout39.xml" ContentType="application/vnd.openxmlformats-officedocument.presentationml.slideLayout+xml"/>
  <Override PartName="/ppt/tags/tag209.xml" ContentType="application/vnd.openxmlformats-officedocument.presentationml.tags+xml"/>
  <Override PartName="/ppt/tags/tag464.xml" ContentType="application/vnd.openxmlformats-officedocument.presentationml.tags+xml"/>
  <Override PartName="/ppt/slideLayouts/slideLayout372.xml" ContentType="application/vnd.openxmlformats-officedocument.presentationml.slideLayout+xml"/>
  <Override PartName="/ppt/tags/tag650.xml" ContentType="application/vnd.openxmlformats-officedocument.presentationml.tags+xml"/>
  <Override PartName="/ppt/slides/slide65.xml" ContentType="application/vnd.openxmlformats-officedocument.presentationml.slide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448.xml" ContentType="application/vnd.openxmlformats-officedocument.presentationml.slideLayout+xml"/>
  <Override PartName="/ppt/diagrams/quickStyle2.xml" ContentType="application/vnd.openxmlformats-officedocument.drawingml.diagramStyle+xml"/>
  <Override PartName="/ppt/tags/tag78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234.xml" ContentType="application/vnd.openxmlformats-officedocument.presentationml.tags+xml"/>
  <Override PartName="/ppt/tags/tag379.xml" ContentType="application/vnd.openxmlformats-officedocument.presentationml.tags+xml"/>
  <Override PartName="/ppt/slideLayouts/slideLayout287.xml" ContentType="application/vnd.openxmlformats-officedocument.presentationml.slideLayout+xml"/>
  <Override PartName="/ppt/tags/tag565.xml" ContentType="application/vnd.openxmlformats-officedocument.presentationml.tags+xml"/>
  <Override PartName="/ppt/tags/tag420.xml" ContentType="application/vnd.openxmlformats-officedocument.presentationml.tags+xml"/>
  <Override PartName="/ppt/slideLayouts/slideLayout473.xml" ContentType="application/vnd.openxmlformats-officedocument.presentationml.slideLayout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ags/tag590.xml" ContentType="application/vnd.openxmlformats-officedocument.presentationml.tags+xml"/>
  <Override PartName="/ppt/diagrams/layout5.xml" ContentType="application/vnd.openxmlformats-officedocument.drawingml.diagramLayout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335.xml" ContentType="application/vnd.openxmlformats-officedocument.presentationml.tags+xml"/>
  <Override PartName="/ppt/slideLayouts/slideLayout243.xml" ContentType="application/vnd.openxmlformats-officedocument.presentationml.slideLayout+xml"/>
  <Override PartName="/ppt/tags/tag521.xml" ContentType="application/vnd.openxmlformats-officedocument.presentationml.tags+xml"/>
  <Override PartName="/ppt/slideLayouts/slideLayout388.xml" ContentType="application/vnd.openxmlformats-officedocument.presentationml.slideLayout+xml"/>
  <Override PartName="/ppt/tags/tag666.xml" ContentType="application/vnd.openxmlformats-officedocument.presentationml.tags+xml"/>
  <Override PartName="/ppt/notesSlides/notesSlide12.xml" ContentType="application/vnd.openxmlformats-officedocument.presentationml.notesSlide+xml"/>
  <Override PartName="/ppt/tags/tag174.xml" ContentType="application/vnd.openxmlformats-officedocument.presentationml.tags+xml"/>
  <Override PartName="/ppt/tags/tag360.xml" ContentType="application/vnd.openxmlformats-officedocument.presentationml.tags+xml"/>
  <Override PartName="/ppt/slideLayouts/slideLayout319.xml" ContentType="application/vnd.openxmlformats-officedocument.presentationml.slideLayout+xml"/>
  <Override PartName="/ppt/tags/tag691.xml" ContentType="application/vnd.openxmlformats-officedocument.presentationml.tags+xml"/>
  <Override PartName="/ppt/diagrams/drawing7.xml" ContentType="application/vnd.ms-office.drawingml.diagramDrawing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slideLayouts/slideLayout158.xml" ContentType="application/vnd.openxmlformats-officedocument.presentationml.slideLayout+xml"/>
  <Override PartName="/ppt/tags/tag436.xml" ContentType="application/vnd.openxmlformats-officedocument.presentationml.tags+xml"/>
  <Override PartName="/ppt/tags/tag275.xml" ContentType="application/vnd.openxmlformats-officedocument.presentationml.tags+xml"/>
  <Override PartName="/ppt/slideLayouts/slideLayout344.xml" ContentType="application/vnd.openxmlformats-officedocument.presentationml.slideLayout+xml"/>
  <Override PartName="/ppt/tags/tag622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slideLayouts/slideLayout322.xml" ContentType="application/vnd.openxmlformats-officedocument.presentationml.slideLayout+xml"/>
  <Override PartName="/ppt/tags/tag559.xml" ContentType="application/vnd.openxmlformats-officedocument.presentationml.tags+xml"/>
  <Override PartName="/ppt/tags/tag600.xml" ContentType="application/vnd.openxmlformats-officedocument.presentationml.tags+xml"/>
  <Override PartName="/ppt/slideLayouts/slideLayout467.xml" ContentType="application/vnd.openxmlformats-officedocument.presentationml.slideLayout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tags/tag97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ags/tag398.xml" ContentType="application/vnd.openxmlformats-officedocument.presentationml.tags+xml"/>
  <Override PartName="/ppt/tags/tag537.xml" ContentType="application/vnd.openxmlformats-officedocument.presentationml.tags+xml"/>
  <Override PartName="/ppt/tags/tag584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slideLayouts/slideLayout300.xml" ContentType="application/vnd.openxmlformats-officedocument.presentationml.slideLayout+xml"/>
  <Override PartName="/ppt/theme/theme19.xml" ContentType="application/vnd.openxmlformats-officedocument.theme+xml"/>
  <Override PartName="/ppt/slideLayouts/slideLayout445.xml" ContentType="application/vnd.openxmlformats-officedocument.presentationml.slideLayout+xml"/>
  <Override PartName="/ppt/theme/themeOverride2.xml" ContentType="application/vnd.openxmlformats-officedocument.themeOverride+xml"/>
  <Override PartName="/ppt/slideMasters/slideMaster23.xml" ContentType="application/vnd.openxmlformats-officedocument.presentationml.slideMaster+xml"/>
  <Override PartName="/ppt/slides/slide40.xml" ContentType="application/vnd.openxmlformats-officedocument.presentationml.slide+xml"/>
  <Override PartName="/ppt/tags/tag168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562.xml" ContentType="application/vnd.openxmlformats-officedocument.presentationml.tags+xml"/>
  <Override PartName="/ppt/slideLayouts/slideLayout423.xml" ContentType="application/vnd.openxmlformats-officedocument.presentationml.slideLayout+xml"/>
  <Override PartName="/ppt/slideLayouts/slideLayout470.xml" ContentType="application/vnd.openxmlformats-officedocument.presentationml.slideLayout+xml"/>
  <Override PartName="/ppt/tags/tag701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slideLayouts/slideLayout215.xml" ContentType="application/vnd.openxmlformats-officedocument.presentationml.slideLayout+xml"/>
  <Override PartName="/ppt/tags/tag354.xml" ContentType="application/vnd.openxmlformats-officedocument.presentationml.tags+xml"/>
  <Override PartName="/ppt/slideLayouts/slideLayout262.xml" ContentType="application/vnd.openxmlformats-officedocument.presentationml.slideLayout+xml"/>
  <Override PartName="/ppt/tags/tag540.xml" ContentType="application/vnd.openxmlformats-officedocument.presentationml.tags+xml"/>
  <Override PartName="/ppt/tags/tag638.xml" ContentType="application/vnd.openxmlformats-officedocument.presentationml.tags+xml"/>
  <Override PartName="/ppt/tags/tag685.xml" ContentType="application/vnd.openxmlformats-officedocument.presentationml.tags+xml"/>
  <Override PartName="/ppt/diagrams/layout2.xml" ContentType="application/vnd.openxmlformats-officedocument.drawingml.diagramLayout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slideLayouts/slideLayout99.xml" ContentType="application/vnd.openxmlformats-officedocument.presentationml.slideLayout+xml"/>
  <Override PartName="/ppt/tags/tag193.xml" ContentType="application/vnd.openxmlformats-officedocument.presentationml.tags+xml"/>
  <Override PartName="/ppt/slideLayouts/slideLayout199.xml" ContentType="application/vnd.openxmlformats-officedocument.presentationml.slideLayout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slideLayouts/slideLayout338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401.xml" ContentType="application/vnd.openxmlformats-officedocument.presentationml.slideLayout+xml"/>
  <Override PartName="/ppt/tags/tag616.xml" ContentType="application/vnd.openxmlformats-officedocument.presentationml.tags+xml"/>
  <Override PartName="/ppt/theme/theme22.xml" ContentType="application/vnd.openxmlformats-officedocument.theme+xml"/>
  <Override PartName="/ppt/tags/tag663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ags/tag408.xml" ContentType="application/vnd.openxmlformats-officedocument.presentationml.tags+xml"/>
  <Override PartName="/ppt/tags/tag455.xml" ContentType="application/vnd.openxmlformats-officedocument.presentationml.tags+xml"/>
  <Override PartName="/ppt/diagrams/drawing4.xml" ContentType="application/vnd.ms-office.drawingml.diagramDrawing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Layouts/slideLayout316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ags/tag578.xml" ContentType="application/vnd.openxmlformats-officedocument.presentationml.tags+xml"/>
  <Override PartName="/ppt/tags/tag64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slideLayouts/slideLayout341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s/slide34.xml" ContentType="application/vnd.openxmlformats-officedocument.presentationml.slide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slideLayouts/slideLayout133.xml" ContentType="application/vnd.openxmlformats-officedocument.presentationml.slideLayout+xml"/>
  <Override PartName="/ppt/tags/tag272.xml" ContentType="application/vnd.openxmlformats-officedocument.presentationml.tags+xml"/>
  <Override PartName="/ppt/slideLayouts/slideLayout180.xml" ContentType="application/vnd.openxmlformats-officedocument.presentationml.slideLayout+xml"/>
  <Override PartName="/ppt/tags/tag411.xml" ContentType="application/vnd.openxmlformats-officedocument.presentationml.tags+xml"/>
  <Override PartName="/ppt/slideLayouts/slideLayout278.xml" ContentType="application/vnd.openxmlformats-officedocument.presentationml.slideLayout+xml"/>
  <Override PartName="/ppt/tags/tag509.xml" ContentType="application/vnd.openxmlformats-officedocument.presentationml.tags+xml"/>
  <Override PartName="/ppt/tags/tag556.xml" ContentType="application/vnd.openxmlformats-officedocument.presentationml.tags+xml"/>
  <Override PartName="/ppt/slideLayouts/slideLayout417.xml" ContentType="application/vnd.openxmlformats-officedocument.presentationml.slideLayout+xml"/>
  <Override PartName="/ppt/slideLayouts/slideLayout464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slideLayouts/slideLayout209.xml" ContentType="application/vnd.openxmlformats-officedocument.presentationml.slideLayout+xml"/>
  <Override PartName="/ppt/tags/tag348.xml" ContentType="application/vnd.openxmlformats-officedocument.presentationml.tags+xml"/>
  <Override PartName="/ppt/slideLayouts/slideLayout256.xml" ContentType="application/vnd.openxmlformats-officedocument.presentationml.slideLayout+xml"/>
  <Override PartName="/ppt/tags/tag395.xml" ContentType="application/vnd.openxmlformats-officedocument.presentationml.tags+xml"/>
  <Override PartName="/ppt/tags/tag679.xml" ContentType="application/vnd.openxmlformats-officedocument.presentationml.tags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ags/tag187.xml" ContentType="application/vnd.openxmlformats-officedocument.presentationml.tags+xml"/>
  <Override PartName="/ppt/theme/theme16.xml" ContentType="application/vnd.openxmlformats-officedocument.theme+xml"/>
  <Override PartName="/ppt/tags/tag534.xml" ContentType="application/vnd.openxmlformats-officedocument.presentationml.tags+xml"/>
  <Override PartName="/ppt/tags/tag581.xml" ContentType="application/vnd.openxmlformats-officedocument.presentationml.tags+xml"/>
  <Override PartName="/ppt/slideLayouts/slideLayout442.xml" ContentType="application/vnd.openxmlformats-officedocument.presentationml.slideLayout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slideLayouts/slideLayout234.xml" ContentType="application/vnd.openxmlformats-officedocument.presentationml.slideLayout+xml"/>
  <Override PartName="/ppt/tags/tag373.xml" ContentType="application/vnd.openxmlformats-officedocument.presentationml.tags+xml"/>
  <Override PartName="/ppt/slideLayouts/slideLayout281.xml" ContentType="application/vnd.openxmlformats-officedocument.presentationml.slideLayout+xml"/>
  <Override PartName="/ppt/tags/tag512.xml" ContentType="application/vnd.openxmlformats-officedocument.presentationml.tags+xml"/>
  <Override PartName="/ppt/slideLayouts/slideLayout379.xml" ContentType="application/vnd.openxmlformats-officedocument.presentationml.slideLayout+xml"/>
  <Override PartName="/ppt/tags/tag657.xml" ContentType="application/vnd.openxmlformats-officedocument.presentationml.tags+xml"/>
  <Override PartName="/ppt/slideMasters/slideMaster20.xml" ContentType="application/vnd.openxmlformats-officedocument.presentationml.slideMaster+xml"/>
  <Override PartName="/ppt/tags/tag50.xml" ContentType="application/vnd.openxmlformats-officedocument.presentationml.tags+xml"/>
  <Override PartName="/ppt/theme/theme8.xml" ContentType="application/vnd.openxmlformats-officedocument.theme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49.xml" ContentType="application/vnd.openxmlformats-officedocument.presentationml.tags+xml"/>
  <Override PartName="/ppt/tags/tag496.xml" ContentType="application/vnd.openxmlformats-officedocument.presentationml.tags+xml"/>
  <Override PartName="/ppt/slideLayouts/slideLayout357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ags/tag635.xml" ContentType="application/vnd.openxmlformats-officedocument.presentationml.tags+xml"/>
  <Override PartName="/ppt/tags/tag682.xml" ContentType="application/vnd.openxmlformats-officedocument.presentationml.tags+xml"/>
  <Override PartName="/ppt/diagrams/quickStyle9.xml" ContentType="application/vnd.openxmlformats-officedocument.drawingml.diagramStyl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288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slides/slide28.xml" ContentType="application/vnd.openxmlformats-officedocument.presentationml.slide+xml"/>
  <Override PartName="/ppt/slideLayouts/slideLayout49.xml" ContentType="application/vnd.openxmlformats-officedocument.presentationml.slideLayout+xml"/>
  <Override PartName="/ppt/slideLayouts/slideLayout96.xml" ContentType="application/vnd.openxmlformats-officedocument.presentationml.slideLayout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Layouts/slideLayout335.xml" ContentType="application/vnd.openxmlformats-officedocument.presentationml.slideLayout+xml"/>
  <Override PartName="/ppt/slideLayouts/slideLayout382.xml" ContentType="application/vnd.openxmlformats-officedocument.presentationml.slideLayout+xml"/>
  <Override PartName="/ppt/tags/tag597.xml" ContentType="application/vnd.openxmlformats-officedocument.presentationml.tags+xml"/>
  <Override PartName="/ppt/tags/tag613.xml" ContentType="application/vnd.openxmlformats-officedocument.presentationml.tags+xml"/>
  <Override PartName="/ppt/tags/tag66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slideLayouts/slideLayout313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458.xml" ContentType="application/vnd.openxmlformats-officedocument.presentationml.slideLayout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slides/slide53.xml" ContentType="application/vnd.openxmlformats-officedocument.presentationml.slide+xml"/>
  <Override PartName="/ppt/tags/tag88.xml" ContentType="application/vnd.openxmlformats-officedocument.presentationml.tags+xml"/>
  <Override PartName="/ppt/slideLayouts/slideLayout105.xml" ContentType="application/vnd.openxmlformats-officedocument.presentationml.slideLayout+xml"/>
  <Override PartName="/ppt/tags/tag244.xml" ContentType="application/vnd.openxmlformats-officedocument.presentationml.tags+xml"/>
  <Default Extension="jpeg" ContentType="image/jpeg"/>
  <Override PartName="/ppt/slideLayouts/slideLayout152.xml" ContentType="application/vnd.openxmlformats-officedocument.presentationml.slideLayout+xml"/>
  <Override PartName="/ppt/tags/tag291.xml" ContentType="application/vnd.openxmlformats-officedocument.presentationml.tags+xml"/>
  <Override PartName="/ppt/tags/tag430.xml" ContentType="application/vnd.openxmlformats-officedocument.presentationml.tags+xml"/>
  <Override PartName="/ppt/slideLayouts/slideLayout297.xml" ContentType="application/vnd.openxmlformats-officedocument.presentationml.slideLayout+xml"/>
  <Override PartName="/ppt/tags/tag528.xml" ContentType="application/vnd.openxmlformats-officedocument.presentationml.tags+xml"/>
  <Override PartName="/ppt/tags/tag575.xml" ContentType="application/vnd.openxmlformats-officedocument.presentationml.tags+xml"/>
  <Override PartName="/ppt/slideLayouts/slideLayout436.xml" ContentType="application/vnd.openxmlformats-officedocument.presentationml.slideLayout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slideLayouts/slideLayout228.xml" ContentType="application/vnd.openxmlformats-officedocument.presentationml.slideLayout+xml"/>
  <Override PartName="/ppt/tags/tag367.xml" ContentType="application/vnd.openxmlformats-officedocument.presentationml.tags+xml"/>
  <Override PartName="/ppt/slideLayouts/slideLayout275.xml" ContentType="application/vnd.openxmlformats-officedocument.presentationml.slideLayout+xml"/>
  <Override PartName="/ppt/tags/tag506.xml" ContentType="application/vnd.openxmlformats-officedocument.presentationml.tags+xml"/>
  <Override PartName="/ppt/tags/tag553.xml" ContentType="application/vnd.openxmlformats-officedocument.presentationml.tags+xml"/>
  <Override PartName="/ppt/tags/tag698.xml" ContentType="application/vnd.openxmlformats-officedocument.presentationml.tags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slideLayouts/slideLayout130.xml" ContentType="application/vnd.openxmlformats-officedocument.presentationml.slideLayout+xml"/>
  <Override PartName="/ppt/tags/tag345.xml" ContentType="application/vnd.openxmlformats-officedocument.presentationml.tags+xml"/>
  <Override PartName="/ppt/tags/tag392.xml" ContentType="application/vnd.openxmlformats-officedocument.presentationml.tags+xml"/>
  <Override PartName="/ppt/slideLayouts/slideLayout414.xml" ContentType="application/vnd.openxmlformats-officedocument.presentationml.slideLayout+xml"/>
  <Override PartName="/ppt/slideLayouts/slideLayout461.xml" ContentType="application/vnd.openxmlformats-officedocument.presentationml.slideLayout+xml"/>
  <Override PartName="/ppt/charts/colors1.xml" ContentType="application/vnd.ms-office.chartcolorstyle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ags/tag531.xml" ContentType="application/vnd.openxmlformats-officedocument.presentationml.tags+xml"/>
  <Override PartName="/ppt/slideLayouts/slideLayout398.xml" ContentType="application/vnd.openxmlformats-officedocument.presentationml.slideLayout+xml"/>
  <Override PartName="/ppt/tags/tag629.xml" ContentType="application/vnd.openxmlformats-officedocument.presentationml.tags+xml"/>
  <Override PartName="/ppt/tags/tag676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slideLayouts/slideLayout231.xml" ContentType="application/vnd.openxmlformats-officedocument.presentationml.slideLayout+xml"/>
  <Override PartName="/ppt/tags/tag370.xml" ContentType="application/vnd.openxmlformats-officedocument.presentationml.tags+xml"/>
  <Override PartName="/ppt/theme/theme13.xml" ContentType="application/vnd.openxmlformats-officedocument.theme+xml"/>
  <Override PartName="/ppt/tags/tag468.xml" ContentType="application/vnd.openxmlformats-officedocument.presentationml.tags+xml"/>
  <Override PartName="/ppt/slideLayouts/slideLayout329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ags/tag607.xml" ContentType="application/vnd.openxmlformats-officedocument.presentationml.tags+xml"/>
  <Override PartName="/ppt/tags/tag654.xml" ContentType="application/vnd.openxmlformats-officedocument.presentationml.tags+xml"/>
  <Override PartName="/ppt/slides/slide69.xml" ContentType="application/vnd.openxmlformats-officedocument.presentationml.slide+xml"/>
  <Override PartName="/ppt/slideLayouts/slideLayout68.xml" ContentType="application/vnd.openxmlformats-officedocument.presentationml.slideLayout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slideLayouts/slideLayout168.xml" ContentType="application/vnd.openxmlformats-officedocument.presentationml.slideLayout+xml"/>
  <Override PartName="/ppt/tags/tag301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diagrams/quickStyle6.xml" ContentType="application/vnd.openxmlformats-officedocument.drawingml.diagramStyle+xml"/>
  <Override PartName="/ppt/slides/slide47.xml" ContentType="application/vnd.openxmlformats-officedocument.presentationml.slide+xml"/>
  <Override PartName="/ppt/tags/tag140.xml" ContentType="application/vnd.openxmlformats-officedocument.presentationml.tags+xml"/>
  <Override PartName="/ppt/theme/theme5.xml" ContentType="application/vnd.openxmlformats-officedocument.theme+xml"/>
  <Override PartName="/ppt/tags/tag285.xml" ContentType="application/vnd.openxmlformats-officedocument.presentationml.tags+xml"/>
  <Override PartName="/ppt/slideLayouts/slideLayout354.xml" ContentType="application/vnd.openxmlformats-officedocument.presentationml.slideLayout+xml"/>
  <Override PartName="/ppt/tags/tag63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ags/tag471.xml" ContentType="application/vnd.openxmlformats-officedocument.presentationml.tags+xml"/>
  <Override PartName="/ppt/tags/tag708.xml" ContentType="application/vnd.openxmlformats-officedocument.presentationml.tags+xml"/>
  <Override PartName="/ppt/tags/tag216.xml" ContentType="application/vnd.openxmlformats-officedocument.presentationml.tags+xml"/>
  <Override PartName="/ppt/slideLayouts/slideLayout124.xml" ContentType="application/vnd.openxmlformats-officedocument.presentationml.slideLayout+xml"/>
  <Override PartName="/ppt/tags/tag402.xml" ContentType="application/vnd.openxmlformats-officedocument.presentationml.tags+xml"/>
  <Override PartName="/ppt/slideLayouts/slideLayout269.xml" ContentType="application/vnd.openxmlformats-officedocument.presentationml.slideLayout+xml"/>
  <Override PartName="/ppt/tags/tag547.xml" ContentType="application/vnd.openxmlformats-officedocument.presentationml.tags+xml"/>
  <Override PartName="/ppt/slideLayouts/slideLayout455.xml" ContentType="application/vnd.openxmlformats-officedocument.presentationml.slideLayout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386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ags/tag572.xml" ContentType="application/vnd.openxmlformats-officedocument.presentationml.tags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slideMasters/slideMaster8.xml" ContentType="application/vnd.openxmlformats-officedocument.presentationml.slideMaster+xml"/>
  <Override PartName="/ppt/tags/tag156.xml" ContentType="application/vnd.openxmlformats-officedocument.presentationml.tags+xml"/>
  <Override PartName="/ppt/slideLayouts/slideLayout225.xml" ContentType="application/vnd.openxmlformats-officedocument.presentationml.slideLayout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slideLayouts/slideLayout411.xml" ContentType="application/vnd.openxmlformats-officedocument.presentationml.slideLayout+xml"/>
  <Override PartName="/ppt/tags/tag648.xml" ContentType="application/vnd.openxmlformats-officedocument.presentationml.tags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slideLayouts/slideLayout250.xml" ContentType="application/vnd.openxmlformats-officedocument.presentationml.slideLayout+xml"/>
  <Override PartName="/ppt/slideLayouts/slideLayout395.xml" ContentType="application/vnd.openxmlformats-officedocument.presentationml.slideLayout+xml"/>
  <Override PartName="/ppt/tags/tag673.xml" ContentType="application/vnd.openxmlformats-officedocument.presentationml.tags+xml"/>
  <Override PartName="/ppt/diagrams/data2.xml" ContentType="application/vnd.openxmlformats-officedocument.drawingml.diagramData+xml"/>
  <Override PartName="/ppt/slideLayouts/slideLayout87.xml" ContentType="application/vnd.openxmlformats-officedocument.presentationml.slideLayout+xml"/>
  <Override PartName="/ppt/tags/tag181.xml" ContentType="application/vnd.openxmlformats-officedocument.presentationml.tags+xml"/>
  <Override PartName="/ppt/theme/theme10.xml" ContentType="application/vnd.openxmlformats-officedocument.theme+xml"/>
  <Override PartName="/ppt/tags/tag418.xml" ContentType="application/vnd.openxmlformats-officedocument.presentationml.tags+xml"/>
  <Override PartName="/ppt/slideLayouts/slideLayout326.xml" ContentType="application/vnd.openxmlformats-officedocument.presentationml.slideLayout+xml"/>
  <Override PartName="/ppt/diagrams/colors4.xml" ContentType="application/vnd.openxmlformats-officedocument.drawingml.diagramColors+xml"/>
  <Override PartName="/ppt/slides/slide19.xml" ContentType="application/vnd.openxmlformats-officedocument.presentationml.slide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slideLayouts/slideLayout165.xml" ContentType="application/vnd.openxmlformats-officedocument.presentationml.slideLayout+xml"/>
  <Override PartName="/ppt/tags/tag588.xml" ContentType="application/vnd.openxmlformats-officedocument.presentationml.tags+xml"/>
  <Override PartName="/ppt/tags/tag604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43.xml" ContentType="application/vnd.openxmlformats-officedocument.presentationml.tags+xml"/>
  <Override PartName="/ppt/slideLayouts/slideLayout351.xml" ContentType="application/vnd.openxmlformats-officedocument.presentationml.slideLayout+xml"/>
  <Override PartName="/ppt/slides/slide44.xml" ContentType="application/vnd.openxmlformats-officedocument.presentationml.slide+xml"/>
  <Default Extension="emf" ContentType="image/x-emf"/>
  <Override PartName="/ppt/slideLayouts/slideLayout43.xml" ContentType="application/vnd.openxmlformats-officedocument.presentationml.slideLayout+xml"/>
  <Override PartName="/ppt/tags/tag282.xml" ContentType="application/vnd.openxmlformats-officedocument.presentationml.tags+xml"/>
  <Override PartName="/ppt/slideLayouts/slideLayout190.xml" ContentType="application/vnd.openxmlformats-officedocument.presentationml.slideLayout+xml"/>
  <Override PartName="/ppt/tags/tag519.xml" ContentType="application/vnd.openxmlformats-officedocument.presentationml.tags+xml"/>
  <Override PartName="/ppt/slideLayouts/slideLayout427.xml" ContentType="application/vnd.openxmlformats-officedocument.presentationml.slideLayout+xml"/>
  <Override PartName="/ppt/tags/tag705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358.xml" ContentType="application/vnd.openxmlformats-officedocument.presentationml.tags+xml"/>
  <Override PartName="/ppt/slideLayouts/slideLayout266.xml" ContentType="application/vnd.openxmlformats-officedocument.presentationml.slideLayout+xml"/>
  <Override PartName="/ppt/tags/tag544.xml" ContentType="application/vnd.openxmlformats-officedocument.presentationml.tags+xml"/>
  <Override PartName="/ppt/tags/tag689.xml" ContentType="application/vnd.openxmlformats-officedocument.presentationml.tags+xml"/>
  <Override PartName="/ppt/tags/tag82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197.xml" ContentType="application/vnd.openxmlformats-officedocument.presentationml.tags+xml"/>
  <Override PartName="/ppt/tags/tag383.xml" ContentType="application/vnd.openxmlformats-officedocument.presentationml.tags+xml"/>
  <Override PartName="/ppt/slideLayouts/slideLayout452.xml" ContentType="application/vnd.openxmlformats-officedocument.presentationml.slideLayout+xml"/>
  <Override PartName="/ppt/tags/tag128.xml" ContentType="application/vnd.openxmlformats-officedocument.presentationml.tags+xml"/>
  <Override PartName="/ppt/slideLayouts/slideLayout291.xml" ContentType="application/vnd.openxmlformats-officedocument.presentationml.slideLayout+xml"/>
  <Override PartName="/ppt/tags/tag459.xml" ContentType="application/vnd.openxmlformats-officedocument.presentationml.tags+xml"/>
  <Override PartName="/ppt/tags/tag13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slideLayouts/slideLayout222.xml" ContentType="application/vnd.openxmlformats-officedocument.presentationml.slideLayout+xml"/>
  <Override PartName="/ppt/tags/tag500.xml" ContentType="application/vnd.openxmlformats-officedocument.presentationml.tags+xml"/>
  <Override PartName="/ppt/slideLayouts/slideLayout367.xml" ContentType="application/vnd.openxmlformats-officedocument.presentationml.slideLayout+xml"/>
  <Override PartName="/ppt/tags/tag645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53.xml" ContentType="application/vnd.openxmlformats-officedocument.presentationml.tags+xml"/>
  <Override PartName="/ppt/tags/tag484.xml" ContentType="application/vnd.openxmlformats-officedocument.presentationml.tags+xml"/>
  <Override PartName="/ppt/slideLayouts/slideLayout392.xml" ContentType="application/vnd.openxmlformats-officedocument.presentationml.slideLayout+xml"/>
  <Override PartName="/ppt/tags/tag670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229.xml" ContentType="application/vnd.openxmlformats-officedocument.presentationml.tags+xml"/>
  <Override PartName="/ppt/tags/tag415.xml" ContentType="application/vnd.openxmlformats-officedocument.presentationml.tags+xml"/>
  <Override PartName="/ppt/diagrams/colors1.xml" ContentType="application/vnd.openxmlformats-officedocument.drawingml.diagramColors+xml"/>
  <Override PartName="/ppt/tags/tag98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Layouts/slideLayout323.xml" ContentType="application/vnd.openxmlformats-officedocument.presentationml.slideLayout+xml"/>
  <Override PartName="/ppt/tags/tag601.xml" ContentType="application/vnd.openxmlformats-officedocument.presentationml.tags+xml"/>
  <Override PartName="/ppt/slideLayouts/slideLayout468.xml" ContentType="application/vnd.openxmlformats-officedocument.presentationml.slideLayout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440.xml" ContentType="application/vnd.openxmlformats-officedocument.presentationml.tags+xml"/>
  <Override PartName="/ppt/tags/tag585.xml" ContentType="application/vnd.openxmlformats-officedocument.presentationml.tags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slideLayouts/slideLayout238.xml" ContentType="application/vnd.openxmlformats-officedocument.presentationml.slideLayout+xml"/>
  <Override PartName="/ppt/tags/tag51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55.xml" ContentType="application/vnd.openxmlformats-officedocument.presentationml.tags+xml"/>
  <Override PartName="/ppt/slideLayouts/slideLayout424.xml" ContentType="application/vnd.openxmlformats-officedocument.presentationml.slideLayout+xml"/>
  <Override PartName="/ppt/tags/tag686.xml" ContentType="application/vnd.openxmlformats-officedocument.presentationml.tags+xml"/>
  <Override PartName="/ppt/tags/tag702.xml" ContentType="application/vnd.openxmlformats-officedocument.presentationml.tags+xml"/>
  <Override PartName="/ppt/tags/tag194.xml" ContentType="application/vnd.openxmlformats-officedocument.presentationml.tags+xml"/>
  <Override PartName="/ppt/slideLayouts/slideLayout263.xml" ContentType="application/vnd.openxmlformats-officedocument.presentationml.slideLayout+xml"/>
  <Override PartName="/ppt/tags/tag541.xml" ContentType="application/vnd.openxmlformats-officedocument.presentationml.tags+xml"/>
  <Override PartName="/ppt/theme/theme23.xml" ContentType="application/vnd.openxmlformats-officedocument.theme+xml"/>
  <Override PartName="/ppt/tags/tag380.xml" ContentType="application/vnd.openxmlformats-officedocument.presentationml.tags+xml"/>
  <Override PartName="/ppt/slideLayouts/slideLayout339.xml" ContentType="application/vnd.openxmlformats-officedocument.presentationml.slideLayout+xml"/>
  <Override PartName="/ppt/tags/tag61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311.xml" ContentType="application/vnd.openxmlformats-officedocument.presentationml.tags+xml"/>
  <Override PartName="/ppt/tags/tag456.xml" ContentType="application/vnd.openxmlformats-officedocument.presentationml.tags+xml"/>
  <Override PartName="/ppt/slideLayouts/slideLayout364.xml" ContentType="application/vnd.openxmlformats-officedocument.presentationml.slideLayout+xml"/>
  <Override PartName="/ppt/tags/tag642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7.xml" ContentType="application/vnd.openxmlformats-officedocument.presentationml.slide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295.xml" ContentType="application/vnd.openxmlformats-officedocument.presentationml.tags+xml"/>
  <Override PartName="/ppt/tags/tag481.xml" ContentType="application/vnd.openxmlformats-officedocument.presentationml.tags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slideLayouts/slideLayout279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412.xml" ContentType="application/vnd.openxmlformats-officedocument.presentationml.tags+xml"/>
  <Override PartName="/ppt/slideLayouts/slideLayout320.xml" ContentType="application/vnd.openxmlformats-officedocument.presentationml.slideLayout+xml"/>
  <Override PartName="/ppt/tags/tag557.xml" ContentType="application/vnd.openxmlformats-officedocument.presentationml.tags+xml"/>
  <Override PartName="/ppt/slideLayouts/slideLayout465.xml" ContentType="application/vnd.openxmlformats-officedocument.presentationml.slideLayout+xml"/>
  <Override PartName="/ppt/slides/slide13.xml" ContentType="application/vnd.openxmlformats-officedocument.presentationml.slide+xml"/>
  <Override PartName="/ppt/tags/tag95.xml" ContentType="application/vnd.openxmlformats-officedocument.presentationml.tags+xml"/>
  <Override PartName="/ppt/tags/tag251.xml" ContentType="application/vnd.openxmlformats-officedocument.presentationml.tags+xml"/>
  <Override PartName="/ppt/tags/tag396.xml" ContentType="application/vnd.openxmlformats-officedocument.presentationml.tags+xml"/>
  <Override PartName="/ppt/tags/tag582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327.xml" ContentType="application/vnd.openxmlformats-officedocument.presentationml.tags+xml"/>
  <Override PartName="/ppt/slideLayouts/slideLayout235.xml" ContentType="application/vnd.openxmlformats-officedocument.presentationml.slideLayout+xml"/>
  <Override PartName="/ppt/tags/tag658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slideLayouts/slideLayout421.xml" ContentType="application/vnd.openxmlformats-officedocument.presentationml.slideLayout+xml"/>
  <Override PartName="/ppt/tags/tag51.xml" ContentType="application/vnd.openxmlformats-officedocument.presentationml.tags+xml"/>
  <Override PartName="/ppt/tags/tag352.xml" ContentType="application/vnd.openxmlformats-officedocument.presentationml.tags+xml"/>
  <Override PartName="/ppt/slideLayouts/slideLayout260.xml" ContentType="application/vnd.openxmlformats-officedocument.presentationml.slideLayout+xml"/>
  <Override PartName="/ppt/tags/tag683.xml" ContentType="application/vnd.openxmlformats-officedocument.presentationml.tags+xml"/>
  <Override PartName="/ppt/slideLayouts/slideLayout97.xml" ContentType="application/vnd.openxmlformats-officedocument.presentationml.slideLayout+xml"/>
  <Override PartName="/ppt/tags/tag191.xml" ContentType="application/vnd.openxmlformats-officedocument.presentationml.tags+xml"/>
  <Override PartName="/ppt/tags/tag428.xml" ContentType="application/vnd.openxmlformats-officedocument.presentationml.tags+xml"/>
  <Override PartName="/ppt/slideLayouts/slideLayout336.xml" ContentType="application/vnd.openxmlformats-officedocument.presentationml.slideLayout+xml"/>
  <Override PartName="/ppt/theme/theme20.xml" ContentType="application/vnd.openxmlformats-officedocument.theme+xml"/>
  <Override PartName="/ppt/tags/tag614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slideLayouts/slideLayout175.xml" ContentType="application/vnd.openxmlformats-officedocument.presentationml.slideLayout+xml"/>
  <Override PartName="/ppt/tags/tag453.xml" ContentType="application/vnd.openxmlformats-officedocument.presentationml.tags+xml"/>
  <Override PartName="/ppt/tags/tag59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92.xml" ContentType="application/vnd.openxmlformats-officedocument.presentationml.tags+xml"/>
  <Override PartName="/ppt/slideLayouts/slideLayout361.xml" ContentType="application/vnd.openxmlformats-officedocument.presentationml.slideLayout+xml"/>
  <Override PartName="/ppt/tags/tag529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ags/tag368.xml" ContentType="application/vnd.openxmlformats-officedocument.presentationml.tags+xml"/>
  <Override PartName="/ppt/slideLayouts/slideLayout437.xml" ContentType="application/vnd.openxmlformats-officedocument.presentationml.slideLayout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ags/tag554.xml" ContentType="application/vnd.openxmlformats-officedocument.presentationml.tags+xml"/>
  <Override PartName="/ppt/slideLayouts/slideLayout462.xml" ContentType="application/vnd.openxmlformats-officedocument.presentationml.slideLayout+xml"/>
  <Override PartName="/ppt/tags/tag699.xml" ContentType="application/vnd.openxmlformats-officedocument.presentationml.tags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tags/tag92.xml" ContentType="application/vnd.openxmlformats-officedocument.presentationml.tags+xml"/>
  <Override PartName="/ppt/slideLayouts/slideLayout207.xml" ContentType="application/vnd.openxmlformats-officedocument.presentationml.slideLayout+xml"/>
  <Override PartName="/ppt/tags/tag393.xml" ContentType="application/vnd.openxmlformats-officedocument.presentationml.tags+xml"/>
  <Override PartName="/ppt/tags/tag138.xml" ContentType="application/vnd.openxmlformats-officedocument.presentationml.tags+xml"/>
  <Override PartName="/ppt/tags/tag324.xml" ContentType="application/vnd.openxmlformats-officedocument.presentationml.tags+xml"/>
  <Override PartName="/ppt/tags/tag469.xml" ContentType="application/vnd.openxmlformats-officedocument.presentationml.tags+xml"/>
  <Override PartName="/ppt/tags/tag23.xml" ContentType="application/vnd.openxmlformats-officedocument.presentationml.tags+xml"/>
  <Override PartName="/ppt/tags/tag163.xml" ContentType="application/vnd.openxmlformats-officedocument.presentationml.tags+xml"/>
  <Override PartName="/ppt/slideLayouts/slideLayout232.xml" ContentType="application/vnd.openxmlformats-officedocument.presentationml.slideLayout+xml"/>
  <Override PartName="/ppt/tags/tag510.xml" ContentType="application/vnd.openxmlformats-officedocument.presentationml.tags+xml"/>
  <Override PartName="/ppt/slideLayouts/slideLayout377.xml" ContentType="application/vnd.openxmlformats-officedocument.presentationml.slideLayout+xml"/>
  <Override PartName="/ppt/tags/tag655.xml" ContentType="application/vnd.openxmlformats-officedocument.presentationml.tag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ags/tag494.xml" ContentType="application/vnd.openxmlformats-officedocument.presentationml.tags+xml"/>
  <Override PartName="/ppt/tags/tag680.xml" ContentType="application/vnd.openxmlformats-officedocument.presentationml.tags+xml"/>
  <Override PartName="/ppt/diagrams/quickStyle7.xml" ContentType="application/vnd.openxmlformats-officedocument.drawingml.diagramStyle+xml"/>
  <Default Extension="bin" ContentType="application/vnd.openxmlformats-officedocument.oleObject"/>
  <Override PartName="/ppt/tags/tag239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425.xml" ContentType="application/vnd.openxmlformats-officedocument.presentationml.tags+xml"/>
  <Override PartName="/ppt/slides/slide26.xml" ContentType="application/vnd.openxmlformats-officedocument.presentationml.slide+xml"/>
  <Override PartName="/ppt/slideLayouts/slideLayout94.xml" ContentType="application/vnd.openxmlformats-officedocument.presentationml.slideLayout+xml"/>
  <Override PartName="/ppt/tags/tag264.xml" ContentType="application/vnd.openxmlformats-officedocument.presentationml.tags+xml"/>
  <Override PartName="/ppt/slideLayouts/slideLayout333.xml" ContentType="application/vnd.openxmlformats-officedocument.presentationml.slideLayout+xml"/>
  <Override PartName="/ppt/tags/tag595.xml" ContentType="application/vnd.openxmlformats-officedocument.presentationml.tags+xml"/>
  <Override PartName="/ppt/tags/tag61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450.xml" ContentType="application/vnd.openxmlformats-officedocument.presentationml.tags+xml"/>
  <Override PartName="/ppt/slideLayouts/slideLayout409.xml" ContentType="application/vnd.openxmlformats-officedocument.presentationml.slideLayout+xml"/>
  <Override PartName="/ppt/notesSlides/notesSlide17.xml" ContentType="application/vnd.openxmlformats-officedocument.presentationml.notesSlide+xml"/>
  <Override PartName="/ppt/slides/slide51.xml" ContentType="application/vnd.openxmlformats-officedocument.presentationml.slide+xml"/>
  <Override PartName="/ppt/tags/tag17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ags/tag526.xml" ContentType="application/vnd.openxmlformats-officedocument.presentationml.tags+xml"/>
  <Override PartName="/ppt/slideLayouts/slideLayout434.xml" ContentType="application/vnd.openxmlformats-officedocument.presentationml.slideLayout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220.xml" ContentType="application/vnd.openxmlformats-officedocument.presentationml.tags+xml"/>
  <Override PartName="/ppt/tags/tag365.xml" ContentType="application/vnd.openxmlformats-officedocument.presentationml.tags+xml"/>
  <Override PartName="/ppt/slideLayouts/slideLayout273.xml" ContentType="application/vnd.openxmlformats-officedocument.presentationml.slideLayout+xml"/>
  <Override PartName="/ppt/tags/tag551.xml" ContentType="application/vnd.openxmlformats-officedocument.presentationml.tags+xml"/>
  <Override PartName="/ppt/tags/tag696.xml" ContentType="application/vnd.openxmlformats-officedocument.presentationml.tags+xml"/>
  <Override PartName="/ppt/slideMasters/slideMaster12.xml" ContentType="application/vnd.openxmlformats-officedocument.presentationml.slideMaster+xml"/>
  <Override PartName="/ppt/tags/tag390.xml" ContentType="application/vnd.openxmlformats-officedocument.presentationml.tags+xml"/>
  <Override PartName="/ppt/slideLayouts/slideLayout349.xml" ContentType="application/vnd.openxmlformats-officedocument.presentationml.slideLayout+xml"/>
  <Override PartName="/ppt/notesSlides/notesSlide8.xml" ContentType="application/vnd.openxmlformats-officedocument.presentationml.notesSlide+xml"/>
  <Override PartName="/ppt/tags/tag135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ags/tag627.xml" ContentType="application/vnd.openxmlformats-officedocument.presentationml.tags+xml"/>
  <Override PartName="/ppt/charts/chart4.xml" ContentType="application/vnd.openxmlformats-officedocument.drawingml.chart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466.xml" ContentType="application/vnd.openxmlformats-officedocument.presentationml.tags+xml"/>
  <Override PartName="/ppt/slideLayouts/slideLayout374.xml" ContentType="application/vnd.openxmlformats-officedocument.presentationml.slideLayout+xml"/>
  <Override PartName="/ppt/tags/tag652.xml" ContentType="application/vnd.openxmlformats-officedocument.presentationml.tags+xml"/>
  <Override PartName="/ppt/slides/slide67.xml" ContentType="application/vnd.openxmlformats-officedocument.presentationml.slide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491.xml" ContentType="application/vnd.openxmlformats-officedocument.presentationml.tags+xml"/>
  <Override PartName="/ppt/diagrams/quickStyle4.xml" ContentType="application/vnd.openxmlformats-officedocument.drawingml.diagramStyle+xml"/>
  <Override PartName="/ppt/tags/tag236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ags/tag567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ags/tag422.xml" ContentType="application/vnd.openxmlformats-officedocument.presentationml.tags+xml"/>
  <Override PartName="/ppt/slideLayouts/slideLayout330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61.xml" ContentType="application/vnd.openxmlformats-officedocument.presentationml.tags+xml"/>
  <Override PartName="/ppt/slideLayouts/slideLayout406.xml" ContentType="application/vnd.openxmlformats-officedocument.presentationml.slideLayout+xml"/>
  <Override PartName="/ppt/tags/tag592.xml" ContentType="application/vnd.openxmlformats-officedocument.presentationml.tags+xml"/>
  <Override PartName="/ppt/diagrams/layout7.xml" ContentType="application/vnd.openxmlformats-officedocument.drawingml.diagramLayout+xml"/>
  <Override PartName="/ppt/tags/tag36.xml" ContentType="application/vnd.openxmlformats-officedocument.presentationml.tags+xml"/>
  <Override PartName="/ppt/tags/tag337.xml" ContentType="application/vnd.openxmlformats-officedocument.presentationml.tags+xml"/>
  <Override PartName="/ppt/slideLayouts/slideLayout245.xml" ContentType="application/vnd.openxmlformats-officedocument.presentationml.slideLayout+xml"/>
  <Override PartName="/ppt/tags/tag523.xml" ContentType="application/vnd.openxmlformats-officedocument.presentationml.tags+xml"/>
  <Override PartName="/ppt/tags/tag668.xml" ContentType="application/vnd.openxmlformats-officedocument.presentationml.tags+xml"/>
  <Override PartName="/ppt/notesSlides/notesSlide14.xml" ContentType="application/vnd.openxmlformats-officedocument.presentationml.notesSlide+xml"/>
  <Override PartName="/ppt/tags/tag61.xml" ContentType="application/vnd.openxmlformats-officedocument.presentationml.tags+xml"/>
  <Override PartName="/ppt/tags/tag176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362.xml" ContentType="application/vnd.openxmlformats-officedocument.presentationml.tags+xml"/>
  <Override PartName="/ppt/slideLayouts/slideLayout431.xml" ContentType="application/vnd.openxmlformats-officedocument.presentationml.slideLayout+xml"/>
  <Override PartName="/ppt/tags/tag693.xml" ContentType="application/vnd.openxmlformats-officedocument.presentationml.tags+xml"/>
  <Override PartName="/ppt/diagrams/drawing9.xml" ContentType="application/vnd.ms-office.drawingml.diagramDrawing+xml"/>
  <Override PartName="/ppt/tags/tag107.xml" ContentType="application/vnd.openxmlformats-officedocument.presentationml.tags+xml"/>
  <Override PartName="/ppt/slideLayouts/slideLayout270.xml" ContentType="application/vnd.openxmlformats-officedocument.presentationml.slideLayout+xml"/>
  <Override PartName="/ppt/tags/tag438.xml" ContentType="application/vnd.openxmlformats-officedocument.presentationml.tags+xml"/>
  <Override PartName="/ppt/tags/tag277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346.xml" ContentType="application/vnd.openxmlformats-officedocument.presentationml.slideLayout+xml"/>
  <Override PartName="/ppt/tags/tag62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185.xml" ContentType="application/vnd.openxmlformats-officedocument.presentationml.slideLayout+xml"/>
  <Override PartName="/ppt/tags/tag463.xml" ContentType="application/vnd.openxmlformats-officedocument.presentationml.tags+xml"/>
  <Override PartName="/ppt/slideLayouts/slideLayout371.xml" ContentType="application/vnd.openxmlformats-officedocument.presentationml.slideLayout+xml"/>
  <Override PartName="/ppt/slides/slide64.xml" ContentType="application/vnd.openxmlformats-officedocument.presentationml.slide+xml"/>
  <Override PartName="/ppt/slideLayouts/slideLayout116.xml" ContentType="application/vnd.openxmlformats-officedocument.presentationml.slideLayout+xml"/>
  <Override PartName="/ppt/tags/tag208.xml" ContentType="application/vnd.openxmlformats-officedocument.presentationml.tags+xml"/>
  <Override PartName="/ppt/tags/tag539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378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447.xml" ContentType="application/vnd.openxmlformats-officedocument.presentationml.slideLayout+xml"/>
  <Override PartName="/ppt/diagrams/quickStyle1.xml" ContentType="application/vnd.openxmlformats-officedocument.drawingml.diagramStyle+xml"/>
  <Override PartName="/ppt/slideLayouts/slideLayout141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ags/tag564.xml" ContentType="application/vnd.openxmlformats-officedocument.presentationml.tags+xml"/>
  <Override PartName="/ppt/slideLayouts/slideLayout472.xml" ContentType="application/vnd.openxmlformats-officedocument.presentationml.slideLayout+xml"/>
  <Override PartName="/ppt/slides/slide20.xml" ContentType="application/vnd.openxmlformats-officedocument.presentationml.slide+xml"/>
  <Override PartName="/ppt/tags/tag309.xml" ContentType="application/vnd.openxmlformats-officedocument.presentationml.tags+xml"/>
  <Override PartName="/ppt/slideLayouts/slideLayout217.xml" ContentType="application/vnd.openxmlformats-officedocument.presentationml.slideLayout+xml"/>
  <Override PartName="/ppt/diagrams/layout4.xml" ContentType="application/vnd.openxmlformats-officedocument.drawingml.diagramLayout+xml"/>
  <Override PartName="/ppt/tags/tag33.xml" ContentType="application/vnd.openxmlformats-officedocument.presentationml.tags+xml"/>
  <Override PartName="/ppt/tags/tag148.xml" ContentType="application/vnd.openxmlformats-officedocument.presentationml.tags+xml"/>
  <Override PartName="/ppt/tags/tag334.xml" ContentType="application/vnd.openxmlformats-officedocument.presentationml.tags+xml"/>
  <Override PartName="/ppt/tags/tag479.xml" ContentType="application/vnd.openxmlformats-officedocument.presentationml.tags+xml"/>
  <Override PartName="/ppt/slideLayouts/slideLayout387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ags/tag665.xml" ContentType="application/vnd.openxmlformats-officedocument.presentationml.tags+xml"/>
  <Override PartName="/ppt/notesSlides/notesSlide11.xml" ContentType="application/vnd.openxmlformats-officedocument.presentationml.notesSlide+xml"/>
  <Override PartName="/ppt/tags/tag173.xml" ContentType="application/vnd.openxmlformats-officedocument.presentationml.tags+xml"/>
  <Override PartName="/ppt/slideLayouts/slideLayout242.xml" ContentType="application/vnd.openxmlformats-officedocument.presentationml.slideLayout+xml"/>
  <Override PartName="/ppt/tags/tag520.xml" ContentType="application/vnd.openxmlformats-officedocument.presentationml.tags+xml"/>
  <Override PartName="/ppt/diagrams/drawing6.xml" ContentType="application/vnd.ms-office.drawingml.diagramDrawing+xml"/>
  <Override PartName="/ppt/slideLayouts/slideLayout79.xml" ContentType="application/vnd.openxmlformats-officedocument.presentationml.slideLayout+xml"/>
  <Override PartName="/ppt/tags/tag249.xml" ContentType="application/vnd.openxmlformats-officedocument.presentationml.tags+xml"/>
  <Override PartName="/ppt/slideLayouts/slideLayout318.xml" ContentType="application/vnd.openxmlformats-officedocument.presentationml.slideLayout+xml"/>
  <Override PartName="/ppt/tags/tag690.xml" ContentType="application/vnd.openxmlformats-officedocument.presentationml.tags+xml"/>
  <Override PartName="/ppt/tags/tag104.xml" ContentType="application/vnd.openxmlformats-officedocument.presentationml.tags+xml"/>
  <Override PartName="/ppt/slideLayouts/slideLayout157.xml" ContentType="application/vnd.openxmlformats-officedocument.presentationml.slideLayout+xml"/>
  <Override PartName="/ppt/tags/tag435.xml" ContentType="application/vnd.openxmlformats-officedocument.presentationml.tags+xml"/>
  <Override PartName="/ppt/slideLayouts/slideLayout343.xml" ContentType="application/vnd.openxmlformats-officedocument.presentationml.slideLayout+xml"/>
  <Override PartName="/ppt/tags/tag621.xml" ContentType="application/vnd.openxmlformats-officedocument.presentationml.tags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tags/tag274.xml" ContentType="application/vnd.openxmlformats-officedocument.presentationml.tags+xml"/>
  <Override PartName="/ppt/slideLayouts/slideLayout182.xml" ContentType="application/vnd.openxmlformats-officedocument.presentationml.slideLayout+xml"/>
  <Override PartName="/ppt/tags/tag460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205.xml" ContentType="application/vnd.openxmlformats-officedocument.presentationml.tags+xml"/>
  <Override PartName="/ppt/slideLayouts/slideLayout25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s/slide61.xml" ContentType="application/vnd.openxmlformats-officedocument.presentationml.slide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ags/tag189.xml" ContentType="application/vnd.openxmlformats-officedocument.presentationml.tags+xml"/>
  <Override PartName="/ppt/tags/tag536.xml" ContentType="application/vnd.openxmlformats-officedocument.presentationml.tags+xml"/>
  <Override PartName="/ppt/theme/theme18.xml" ContentType="application/vnd.openxmlformats-officedocument.theme+xml"/>
  <Override PartName="/ppt/slideLayouts/slideLayout444.xml" ContentType="application/vnd.openxmlformats-officedocument.presentationml.slideLayout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75.xml" ContentType="application/vnd.openxmlformats-officedocument.presentationml.tags+xml"/>
  <Override PartName="/ppt/slideLayouts/slideLayout283.xml" ContentType="application/vnd.openxmlformats-officedocument.presentationml.slideLayout+xml"/>
  <Override PartName="/ppt/tags/tag561.xml" ContentType="application/vnd.openxmlformats-officedocument.presentationml.tags+xml"/>
  <Override PartName="/ppt/slideMasters/slideMaster22.xml" ContentType="application/vnd.openxmlformats-officedocument.presentationml.slideMaster+xml"/>
  <Override PartName="/ppt/tags/tag306.xml" ContentType="application/vnd.openxmlformats-officedocument.presentationml.tags+xml"/>
  <Override PartName="/ppt/slideLayouts/slideLayout359.xml" ContentType="application/vnd.openxmlformats-officedocument.presentationml.slideLayout+xml"/>
  <Override PartName="/ppt/tags/tag637.xml" ContentType="application/vnd.openxmlformats-officedocument.presentationml.tags+xml"/>
  <Override PartName="/ppt/tags/tag145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ags/tag476.xml" ContentType="application/vnd.openxmlformats-officedocument.presentationml.tags+xml"/>
  <Override PartName="/ppt/slideLayouts/slideLayout400.xml" ContentType="application/vnd.openxmlformats-officedocument.presentationml.slideLayout+xml"/>
  <Override PartName="/ppt/diagrams/layout1.xml" ContentType="application/vnd.openxmlformats-officedocument.drawingml.diagramLayout+xml"/>
  <Override PartName="/ppt/tags/tag30.xml" ContentType="application/vnd.openxmlformats-officedocument.presentationml.tags+xml"/>
  <Override PartName="/ppt/tags/tag331.xml" ContentType="application/vnd.openxmlformats-officedocument.presentationml.tags+xml"/>
  <Override PartName="/ppt/slideLayouts/slideLayout384.xml" ContentType="application/vnd.openxmlformats-officedocument.presentationml.slideLayout+xml"/>
  <Override PartName="/ppt/tags/tag662.xml" ContentType="application/vnd.openxmlformats-officedocument.presentationml.tags+xml"/>
  <Override PartName="/ppt/slideLayouts/slideLayout76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tags/tag407.xml" ContentType="application/vnd.openxmlformats-officedocument.presentationml.tags+xml"/>
  <Override PartName="/ppt/slideLayouts/slideLayout315.xml" ContentType="application/vnd.openxmlformats-officedocument.presentationml.slideLayout+xml"/>
  <Override PartName="/ppt/diagrams/drawing3.xml" ContentType="application/vnd.ms-office.drawingml.diagramDrawing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slideLayouts/slideLayout154.xml" ContentType="application/vnd.openxmlformats-officedocument.presentationml.slideLayout+xml"/>
  <Override PartName="/ppt/tags/tag432.xml" ContentType="application/vnd.openxmlformats-officedocument.presentationml.tags+xml"/>
  <Override PartName="/ppt/slideLayouts/slideLayout299.xml" ContentType="application/vnd.openxmlformats-officedocument.presentationml.slideLayout+xml"/>
  <Override PartName="/ppt/tags/tag577.xml" ContentType="application/vnd.openxmlformats-officedocument.presentationml.tags+xml"/>
  <Override PartName="/ppt/slides/slide33.xml" ContentType="application/vnd.openxmlformats-officedocument.presentationml.slide+xml"/>
  <Override PartName="/ppt/tags/tag271.xml" ContentType="application/vnd.openxmlformats-officedocument.presentationml.tags+xml"/>
  <Override PartName="/ppt/tags/tag508.xml" ContentType="application/vnd.openxmlformats-officedocument.presentationml.tags+xml"/>
  <Override PartName="/ppt/slideLayouts/slideLayout340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347.xml" ContentType="application/vnd.openxmlformats-officedocument.presentationml.tags+xml"/>
  <Override PartName="/ppt/slideLayouts/slideLayout416.xml" ContentType="application/vnd.openxmlformats-officedocument.presentationml.slideLayout+xml"/>
  <Override PartName="/ppt/tags/tag46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255.xml" ContentType="application/vnd.openxmlformats-officedocument.presentationml.slideLayout+xml"/>
  <Override PartName="/ppt/tags/tag533.xml" ContentType="application/vnd.openxmlformats-officedocument.presentationml.tags+xml"/>
  <Override PartName="/ppt/slideLayouts/slideLayout441.xml" ContentType="application/vnd.openxmlformats-officedocument.presentationml.slideLayout+xml"/>
  <Override PartName="/ppt/tags/tag678.xml" ContentType="application/vnd.openxmlformats-officedocument.presentationml.tags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tags/tag71.xml" ContentType="application/vnd.openxmlformats-officedocument.presentationml.tags+xml"/>
  <Override PartName="/ppt/tags/tag372.xml" ContentType="application/vnd.openxmlformats-officedocument.presentationml.tags+xml"/>
  <Override PartName="/ppt/slideLayouts/slideLayout280.xml" ContentType="application/vnd.openxmlformats-officedocument.presentationml.slideLayout+xml"/>
  <Override PartName="/ppt/theme/theme15.xml" ContentType="application/vnd.openxmlformats-officedocument.theme+xml"/>
  <Override PartName="/ppt/tags/tag609.xml" ContentType="application/vnd.openxmlformats-officedocument.presentationml.tags+xml"/>
  <Override PartName="/ppt/tags/tag117.xml" ContentType="application/vnd.openxmlformats-officedocument.presentationml.tags+xml"/>
  <Override PartName="/ppt/tags/tag448.xml" ContentType="application/vnd.openxmlformats-officedocument.presentationml.tags+xml"/>
  <Override PartName="/ppt/slides/slide49.xml" ContentType="application/vnd.openxmlformats-officedocument.presentationml.slide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356.xml" ContentType="application/vnd.openxmlformats-officedocument.presentationml.slideLayout+xml"/>
  <Override PartName="/ppt/tags/tag634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ags/tag473.xml" ContentType="application/vnd.openxmlformats-officedocument.presentationml.tags+xml"/>
  <Override PartName="/ppt/slideLayouts/slideLayout381.xml" ContentType="application/vnd.openxmlformats-officedocument.presentationml.slideLayout+xml"/>
  <Override PartName="/ppt/charts/style2.xml" ContentType="application/vnd.ms-office.chartstyle+xml"/>
  <Override PartName="/ppt/tags/tag218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404.xml" ContentType="application/vnd.openxmlformats-officedocument.presentationml.tags+xml"/>
  <Override PartName="/ppt/tags/tag549.xml" ContentType="application/vnd.openxmlformats-officedocument.presentationml.tags+xml"/>
  <Override PartName="/ppt/slideLayouts/slideLayout457.xml" ContentType="application/vnd.openxmlformats-officedocument.presentationml.slideLayout+xml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388.xml" ContentType="application/vnd.openxmlformats-officedocument.presentationml.tags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ags/tag574.xml" ContentType="application/vnd.openxmlformats-officedocument.presentationml.tags+xml"/>
  <Override PartName="/ppt/slideLayouts/slideLayout151.xml" ContentType="application/vnd.openxmlformats-officedocument.presentationml.slideLayout+xml"/>
  <Override PartName="/ppt/tags/tag319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158.xml" ContentType="application/vnd.openxmlformats-officedocument.presentationml.tags+xml"/>
  <Override PartName="/ppt/slideLayouts/slideLayout227.xml" ContentType="application/vnd.openxmlformats-officedocument.presentationml.slideLayout+xml"/>
  <Override PartName="/ppt/tags/tag505.xml" ContentType="application/vnd.openxmlformats-officedocument.presentationml.tags+xml"/>
  <Override PartName="/ppt/slideLayouts/slideLayout413.xml" ContentType="application/vnd.openxmlformats-officedocument.presentationml.slideLayout+xml"/>
  <Override PartName="/ppt/tags/tag43.xml" ContentType="application/vnd.openxmlformats-officedocument.presentationml.tags+xml"/>
  <Override PartName="/ppt/tags/tag344.xml" ContentType="application/vnd.openxmlformats-officedocument.presentationml.tags+xml"/>
  <Override PartName="/ppt/slideLayouts/slideLayout252.xml" ContentType="application/vnd.openxmlformats-officedocument.presentationml.slideLayout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slideLayouts/slideLayout397.xml" ContentType="application/vnd.openxmlformats-officedocument.presentationml.slideLayout+xml"/>
  <Override PartName="/ppt/tags/tag675.xml" ContentType="application/vnd.openxmlformats-officedocument.presentationml.tags+xml"/>
  <Override PartName="/ppt/diagrams/data4.xml" ContentType="application/vnd.openxmlformats-officedocument.drawingml.diagramData+xml"/>
  <Override PartName="/ppt/slideLayouts/slideLayout89.xml" ContentType="application/vnd.openxmlformats-officedocument.presentationml.slideLayout+xml"/>
  <Override PartName="/ppt/tags/tag183.xml" ContentType="application/vnd.openxmlformats-officedocument.presentationml.tags+xml"/>
  <Override PartName="/ppt/theme/theme12.xml" ContentType="application/vnd.openxmlformats-officedocument.theme+xml"/>
  <Override PartName="/ppt/diagrams/colors6.xml" ContentType="application/vnd.openxmlformats-officedocument.drawingml.diagramColors+xml"/>
  <Override PartName="/ppt/tags/tag114.xml" ContentType="application/vnd.openxmlformats-officedocument.presentationml.tags+xml"/>
  <Override PartName="/ppt/tags/tag259.xml" ContentType="application/vnd.openxmlformats-officedocument.presentationml.tags+xml"/>
  <Override PartName="/ppt/slideLayouts/slideLayout328.xml" ContentType="application/vnd.openxmlformats-officedocument.presentationml.slideLayout+xml"/>
  <Override PartName="/ppt/tags/tag606.xml" ContentType="application/vnd.openxmlformats-officedocument.presentationml.tags+xml"/>
  <Override PartName="/ppt/theme/theme4.xml" ContentType="application/vnd.openxmlformats-officedocument.theme+xml"/>
  <Override PartName="/ppt/slideLayouts/slideLayout167.xml" ContentType="application/vnd.openxmlformats-officedocument.presentationml.slideLayout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slideLayouts/slideLayout353.xml" ContentType="application/vnd.openxmlformats-officedocument.presentationml.slideLayout+xml"/>
  <Override PartName="/ppt/tags/tag631.xml" ContentType="application/vnd.openxmlformats-officedocument.presentationml.tags+xml"/>
  <Override PartName="/ppt/slides/slide46.xml" ContentType="application/vnd.openxmlformats-officedocument.presentationml.slide+xml"/>
  <Override PartName="/ppt/slideLayouts/slideLayout45.xml" ContentType="application/vnd.openxmlformats-officedocument.presentationml.slideLayout+xml"/>
  <Override PartName="/ppt/tags/tag284.xml" ContentType="application/vnd.openxmlformats-officedocument.presentationml.tags+xml"/>
  <Override PartName="/ppt/slideLayouts/slideLayout192.xml" ContentType="application/vnd.openxmlformats-officedocument.presentationml.slideLayout+xml"/>
  <Override PartName="/ppt/tags/tag470.xml" ContentType="application/vnd.openxmlformats-officedocument.presentationml.tags+xml"/>
  <Override PartName="/ppt/slideLayouts/slideLayout429.xml" ContentType="application/vnd.openxmlformats-officedocument.presentationml.slideLayout+xml"/>
  <Override PartName="/ppt/tags/tag707.xml" ContentType="application/vnd.openxmlformats-officedocument.presentationml.tags+xml"/>
  <Override PartName="/ppt/slides/slide71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slideLayouts/slideLayout268.xml" ContentType="application/vnd.openxmlformats-officedocument.presentationml.slideLayout+xml"/>
  <Override PartName="/ppt/tags/tag546.xml" ContentType="application/vnd.openxmlformats-officedocument.presentationml.tags+xml"/>
  <Override PartName="/ppt/tags/tag84.xml" ContentType="application/vnd.openxmlformats-officedocument.presentationml.tags+xml"/>
  <Override PartName="/ppt/slideLayouts/slideLayout70.xml" ContentType="application/vnd.openxmlformats-officedocument.presentationml.slideLayout+xml"/>
  <Override PartName="/ppt/tags/tag199.xml" ContentType="application/vnd.openxmlformats-officedocument.presentationml.tags+xml"/>
  <Override PartName="/ppt/slideLayouts/slideLayout123.xml" ContentType="application/vnd.openxmlformats-officedocument.presentationml.slideLayout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slideLayouts/slideLayout454.xml" ContentType="application/vnd.openxmlformats-officedocument.presentationml.slideLayout+xml"/>
  <Override PartName="/ppt/tags/tag240.xml" ContentType="application/vnd.openxmlformats-officedocument.presentationml.tags+xml"/>
  <Override PartName="/ppt/slideLayouts/slideLayout293.xml" ContentType="application/vnd.openxmlformats-officedocument.presentationml.slideLayout+xml"/>
  <Override PartName="/ppt/tags/tag571.xml" ContentType="application/vnd.openxmlformats-officedocument.presentationml.tags+xml"/>
  <Override PartName="/ppt/tags/tag15.xml" ContentType="application/vnd.openxmlformats-officedocument.presentationml.tags+xml"/>
  <Override PartName="/ppt/tags/tag316.xml" ContentType="application/vnd.openxmlformats-officedocument.presentationml.tags+xml"/>
  <Override PartName="/ppt/slideLayouts/slideLayout224.xml" ContentType="application/vnd.openxmlformats-officedocument.presentationml.slideLayout+xml"/>
  <Override PartName="/ppt/tags/tag502.xml" ContentType="application/vnd.openxmlformats-officedocument.presentationml.tags+xml"/>
  <Override PartName="/ppt/slideLayouts/slideLayout369.xml" ContentType="application/vnd.openxmlformats-officedocument.presentationml.slideLayout+xml"/>
  <Override PartName="/ppt/tags/tag647.xml" ContentType="application/vnd.openxmlformats-officedocument.presentationml.tags+xml"/>
  <Override PartName="/ppt/slideMasters/slideMaster7.xml" ContentType="application/vnd.openxmlformats-officedocument.presentationml.slideMaster+xml"/>
  <Override PartName="/ppt/tags/tag40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86.xml" ContentType="application/vnd.openxmlformats-officedocument.presentationml.tags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ags/tag180.xml" ContentType="application/vnd.openxmlformats-officedocument.presentationml.tags+xml"/>
  <Override PartName="/ppt/slideLayouts/slideLayout139.xml" ContentType="application/vnd.openxmlformats-officedocument.presentationml.slideLayout+xml"/>
  <Override PartName="/ppt/tags/tag417.xml" ContentType="application/vnd.openxmlformats-officedocument.presentationml.tags+xml"/>
  <Override PartName="/ppt/tags/tag672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slideLayouts/slideLayout86.xml" ContentType="application/vnd.openxmlformats-officedocument.presentationml.slideLayout+xml"/>
  <Override PartName="/ppt/tags/tag256.xml" ContentType="application/vnd.openxmlformats-officedocument.presentationml.tags+xml"/>
  <Override PartName="/ppt/slideLayouts/slideLayout325.xml" ContentType="application/vnd.openxmlformats-officedocument.presentationml.slideLayout+xml"/>
  <Override PartName="/ppt/tags/tag603.xml" ContentType="application/vnd.openxmlformats-officedocument.presentationml.tags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64.xml" ContentType="application/vnd.openxmlformats-officedocument.presentationml.slideLayout+xml"/>
  <Override PartName="/ppt/tags/tag442.xml" ContentType="application/vnd.openxmlformats-officedocument.presentationml.tags+xml"/>
  <Override PartName="/ppt/slideLayouts/slideLayout350.xml" ContentType="application/vnd.openxmlformats-officedocument.presentationml.slideLayout+xml"/>
  <Override PartName="/ppt/tags/tag587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281.xml" ContentType="application/vnd.openxmlformats-officedocument.presentationml.tags+xml"/>
  <Override PartName="/ppt/tags/tag518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slideLayouts/slideLayout426.xml" ContentType="application/vnd.openxmlformats-officedocument.presentationml.slideLayout+xml"/>
  <Override PartName="/ppt/tags/tag688.xml" ContentType="application/vnd.openxmlformats-officedocument.presentationml.tags+xml"/>
  <Override PartName="/ppt/tags/tag704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slideLayouts/slideLayout265.xml" ContentType="application/vnd.openxmlformats-officedocument.presentationml.slideLayout+xml"/>
  <Override PartName="/ppt/tags/tag543.xml" ContentType="application/vnd.openxmlformats-officedocument.presentationml.tags+xml"/>
  <Override PartName="/ppt/slideLayouts/slideLayout451.xml" ContentType="application/vnd.openxmlformats-officedocument.presentationml.slideLayout+xml"/>
  <Override PartName="/ppt/tags/tag81.xml" ContentType="application/vnd.openxmlformats-officedocument.presentationml.tags+xml"/>
  <Override PartName="/ppt/tags/tag382.xml" ContentType="application/vnd.openxmlformats-officedocument.presentationml.tags+xml"/>
  <Override PartName="/ppt/slideLayouts/slideLayout290.xml" ContentType="application/vnd.openxmlformats-officedocument.presentationml.slideLayout+xml"/>
  <Override PartName="/ppt/tags/tag619.xml" ContentType="application/vnd.openxmlformats-officedocument.presentationml.tags+xml"/>
  <Override PartName="/ppt/theme/theme25.xml" ContentType="application/vnd.openxmlformats-officedocument.theme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313.xml" ContentType="application/vnd.openxmlformats-officedocument.presentationml.tags+xml"/>
  <Override PartName="/ppt/tags/tag458.xml" ContentType="application/vnd.openxmlformats-officedocument.presentationml.tags+xml"/>
  <Override PartName="/ppt/slideLayouts/slideLayout366.xml" ContentType="application/vnd.openxmlformats-officedocument.presentationml.slideLayout+xml"/>
  <Override PartName="/ppt/tags/tag644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slideLayouts/slideLayout221.xml" ContentType="application/vnd.openxmlformats-officedocument.presentationml.slideLayout+xml"/>
  <Override PartName="/ppt/tags/tag483.xml" ContentType="application/vnd.openxmlformats-officedocument.presentationml.tags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slideLayouts/slideLayout39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4"/>
    <p:sldMasterId id="2147483803" r:id="rId5"/>
    <p:sldMasterId id="2147484043" r:id="rId6"/>
    <p:sldMasterId id="2147484416" r:id="rId7"/>
    <p:sldMasterId id="2147484571" r:id="rId8"/>
    <p:sldMasterId id="2147484887" r:id="rId9"/>
    <p:sldMasterId id="2147484939" r:id="rId10"/>
    <p:sldMasterId id="2147485039" r:id="rId11"/>
    <p:sldMasterId id="2147485159" r:id="rId12"/>
    <p:sldMasterId id="2147485960" r:id="rId13"/>
    <p:sldMasterId id="2147486618" r:id="rId14"/>
    <p:sldMasterId id="2147486644" r:id="rId15"/>
    <p:sldMasterId id="2147486671" r:id="rId16"/>
    <p:sldMasterId id="2147486784" r:id="rId17"/>
    <p:sldMasterId id="2147486957" r:id="rId18"/>
    <p:sldMasterId id="2147487088" r:id="rId19"/>
    <p:sldMasterId id="2147487100" r:id="rId20"/>
    <p:sldMasterId id="2147487131" r:id="rId21"/>
    <p:sldMasterId id="2147487272" r:id="rId22"/>
    <p:sldMasterId id="2147487298" r:id="rId23"/>
    <p:sldMasterId id="2147487324" r:id="rId24"/>
    <p:sldMasterId id="2147487350" r:id="rId25"/>
    <p:sldMasterId id="2147487362" r:id="rId26"/>
  </p:sldMasterIdLst>
  <p:notesMasterIdLst>
    <p:notesMasterId r:id="rId98"/>
  </p:notesMasterIdLst>
  <p:handoutMasterIdLst>
    <p:handoutMasterId r:id="rId99"/>
  </p:handoutMasterIdLst>
  <p:sldIdLst>
    <p:sldId id="2145707938" r:id="rId27"/>
    <p:sldId id="2145707497" r:id="rId28"/>
    <p:sldId id="2145707605" r:id="rId29"/>
    <p:sldId id="2145708345" r:id="rId30"/>
    <p:sldId id="2145708346" r:id="rId31"/>
    <p:sldId id="2145708272" r:id="rId32"/>
    <p:sldId id="2145708307" r:id="rId33"/>
    <p:sldId id="2145708308" r:id="rId34"/>
    <p:sldId id="2145708309" r:id="rId35"/>
    <p:sldId id="2145708276" r:id="rId36"/>
    <p:sldId id="2145708277" r:id="rId37"/>
    <p:sldId id="2145708334" r:id="rId38"/>
    <p:sldId id="2145708278" r:id="rId39"/>
    <p:sldId id="2145708279" r:id="rId40"/>
    <p:sldId id="2145708266" r:id="rId41"/>
    <p:sldId id="2145708267" r:id="rId42"/>
    <p:sldId id="2145708183" r:id="rId43"/>
    <p:sldId id="2145708352" r:id="rId44"/>
    <p:sldId id="2145708280" r:id="rId45"/>
    <p:sldId id="2145708281" r:id="rId46"/>
    <p:sldId id="2145708354" r:id="rId47"/>
    <p:sldId id="2145708282" r:id="rId48"/>
    <p:sldId id="2145708356" r:id="rId49"/>
    <p:sldId id="2145708185" r:id="rId50"/>
    <p:sldId id="2145708358" r:id="rId51"/>
    <p:sldId id="2145708359" r:id="rId52"/>
    <p:sldId id="2145708360" r:id="rId53"/>
    <p:sldId id="2145708361" r:id="rId54"/>
    <p:sldId id="2145708362" r:id="rId55"/>
    <p:sldId id="2145708363" r:id="rId56"/>
    <p:sldId id="2145708364" r:id="rId57"/>
    <p:sldId id="2145707536" r:id="rId58"/>
    <p:sldId id="2145707538" r:id="rId59"/>
    <p:sldId id="2145708365" r:id="rId60"/>
    <p:sldId id="2145708366" r:id="rId61"/>
    <p:sldId id="2145708367" r:id="rId62"/>
    <p:sldId id="2145708369" r:id="rId63"/>
    <p:sldId id="2145707572" r:id="rId64"/>
    <p:sldId id="2145707581" r:id="rId65"/>
    <p:sldId id="2145708370" r:id="rId66"/>
    <p:sldId id="2145707573" r:id="rId67"/>
    <p:sldId id="2145708371" r:id="rId68"/>
    <p:sldId id="2145707575" r:id="rId69"/>
    <p:sldId id="2145707577" r:id="rId70"/>
    <p:sldId id="2145708372" r:id="rId71"/>
    <p:sldId id="2145708373" r:id="rId72"/>
    <p:sldId id="2145708374" r:id="rId73"/>
    <p:sldId id="2145708375" r:id="rId74"/>
    <p:sldId id="2145707583" r:id="rId75"/>
    <p:sldId id="2145708376" r:id="rId76"/>
    <p:sldId id="2145708377" r:id="rId77"/>
    <p:sldId id="2145708351" r:id="rId78"/>
    <p:sldId id="261" r:id="rId79"/>
    <p:sldId id="258" r:id="rId80"/>
    <p:sldId id="259" r:id="rId81"/>
    <p:sldId id="260" r:id="rId82"/>
    <p:sldId id="262" r:id="rId83"/>
    <p:sldId id="2145708379" r:id="rId84"/>
    <p:sldId id="2145708264" r:id="rId85"/>
    <p:sldId id="2145708265" r:id="rId86"/>
    <p:sldId id="2145708292" r:id="rId87"/>
    <p:sldId id="2145708293" r:id="rId88"/>
    <p:sldId id="2145708268" r:id="rId89"/>
    <p:sldId id="2145708348" r:id="rId90"/>
    <p:sldId id="2145708256" r:id="rId91"/>
    <p:sldId id="461" r:id="rId92"/>
    <p:sldId id="2145708349" r:id="rId93"/>
    <p:sldId id="2145708378" r:id="rId94"/>
    <p:sldId id="2145708271" r:id="rId95"/>
    <p:sldId id="2145707752" r:id="rId96"/>
    <p:sldId id="2145707493" r:id="rId97"/>
  </p:sldIdLst>
  <p:sldSz cx="9144000" cy="6858000" type="screen4x3"/>
  <p:notesSz cx="6858000" cy="9874250"/>
  <p:custDataLst>
    <p:tags r:id="rId10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adiq Kariem" initials="SK" lastIdx="3" clrIdx="0"/>
  <p:cmAuthor id="2" name="Sharon Truter" initials="ST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1856"/>
    <a:srgbClr val="B5121B"/>
    <a:srgbClr val="FF9900"/>
    <a:srgbClr val="FF9999"/>
    <a:srgbClr val="001489"/>
    <a:srgbClr val="00329B"/>
    <a:srgbClr val="E7E6E6"/>
    <a:srgbClr val="C00000"/>
    <a:srgbClr val="3906B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16" autoAdjust="0"/>
    <p:restoredTop sz="87137" autoAdjust="0"/>
  </p:normalViewPr>
  <p:slideViewPr>
    <p:cSldViewPr>
      <p:cViewPr>
        <p:scale>
          <a:sx n="47" d="100"/>
          <a:sy n="47" d="100"/>
        </p:scale>
        <p:origin x="-1950" y="-444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311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3.xml"/><Relationship Id="rId21" Type="http://schemas.openxmlformats.org/officeDocument/2006/relationships/slideMaster" Target="slideMasters/slideMaster18.xml"/><Relationship Id="rId42" Type="http://schemas.openxmlformats.org/officeDocument/2006/relationships/slide" Target="slides/slide16.xml"/><Relationship Id="rId47" Type="http://schemas.openxmlformats.org/officeDocument/2006/relationships/slide" Target="slides/slide21.xml"/><Relationship Id="rId63" Type="http://schemas.openxmlformats.org/officeDocument/2006/relationships/slide" Target="slides/slide37.xml"/><Relationship Id="rId68" Type="http://schemas.openxmlformats.org/officeDocument/2006/relationships/slide" Target="slides/slide42.xml"/><Relationship Id="rId84" Type="http://schemas.openxmlformats.org/officeDocument/2006/relationships/slide" Target="slides/slide58.xml"/><Relationship Id="rId89" Type="http://schemas.openxmlformats.org/officeDocument/2006/relationships/slide" Target="slides/slide63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45.xml"/><Relationship Id="rId92" Type="http://schemas.openxmlformats.org/officeDocument/2006/relationships/slide" Target="slides/slide66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slide" Target="slides/slide14.xml"/><Relationship Id="rId45" Type="http://schemas.openxmlformats.org/officeDocument/2006/relationships/slide" Target="slides/slide19.xml"/><Relationship Id="rId53" Type="http://schemas.openxmlformats.org/officeDocument/2006/relationships/slide" Target="slides/slide27.xml"/><Relationship Id="rId58" Type="http://schemas.openxmlformats.org/officeDocument/2006/relationships/slide" Target="slides/slide32.xml"/><Relationship Id="rId66" Type="http://schemas.openxmlformats.org/officeDocument/2006/relationships/slide" Target="slides/slide40.xml"/><Relationship Id="rId74" Type="http://schemas.openxmlformats.org/officeDocument/2006/relationships/slide" Target="slides/slide48.xml"/><Relationship Id="rId79" Type="http://schemas.openxmlformats.org/officeDocument/2006/relationships/slide" Target="slides/slide53.xml"/><Relationship Id="rId87" Type="http://schemas.openxmlformats.org/officeDocument/2006/relationships/slide" Target="slides/slide61.xml"/><Relationship Id="rId10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35.xml"/><Relationship Id="rId82" Type="http://schemas.openxmlformats.org/officeDocument/2006/relationships/slide" Target="slides/slide56.xml"/><Relationship Id="rId90" Type="http://schemas.openxmlformats.org/officeDocument/2006/relationships/slide" Target="slides/slide64.xml"/><Relationship Id="rId95" Type="http://schemas.openxmlformats.org/officeDocument/2006/relationships/slide" Target="slides/slide69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slide" Target="slides/slide17.xml"/><Relationship Id="rId48" Type="http://schemas.openxmlformats.org/officeDocument/2006/relationships/slide" Target="slides/slide22.xml"/><Relationship Id="rId56" Type="http://schemas.openxmlformats.org/officeDocument/2006/relationships/slide" Target="slides/slide30.xml"/><Relationship Id="rId64" Type="http://schemas.openxmlformats.org/officeDocument/2006/relationships/slide" Target="slides/slide38.xml"/><Relationship Id="rId69" Type="http://schemas.openxmlformats.org/officeDocument/2006/relationships/slide" Target="slides/slide43.xml"/><Relationship Id="rId77" Type="http://schemas.openxmlformats.org/officeDocument/2006/relationships/slide" Target="slides/slide51.xml"/><Relationship Id="rId100" Type="http://schemas.openxmlformats.org/officeDocument/2006/relationships/tags" Target="tags/tag1.xml"/><Relationship Id="rId10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25.xml"/><Relationship Id="rId72" Type="http://schemas.openxmlformats.org/officeDocument/2006/relationships/slide" Target="slides/slide46.xml"/><Relationship Id="rId80" Type="http://schemas.openxmlformats.org/officeDocument/2006/relationships/slide" Target="slides/slide54.xml"/><Relationship Id="rId85" Type="http://schemas.openxmlformats.org/officeDocument/2006/relationships/slide" Target="slides/slide59.xml"/><Relationship Id="rId93" Type="http://schemas.openxmlformats.org/officeDocument/2006/relationships/slide" Target="slides/slide67.xml"/><Relationship Id="rId9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slide" Target="slides/slide20.xml"/><Relationship Id="rId59" Type="http://schemas.openxmlformats.org/officeDocument/2006/relationships/slide" Target="slides/slide33.xml"/><Relationship Id="rId67" Type="http://schemas.openxmlformats.org/officeDocument/2006/relationships/slide" Target="slides/slide41.xml"/><Relationship Id="rId103" Type="http://schemas.openxmlformats.org/officeDocument/2006/relationships/viewProps" Target="viewProp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5.xml"/><Relationship Id="rId54" Type="http://schemas.openxmlformats.org/officeDocument/2006/relationships/slide" Target="slides/slide28.xml"/><Relationship Id="rId62" Type="http://schemas.openxmlformats.org/officeDocument/2006/relationships/slide" Target="slides/slide36.xml"/><Relationship Id="rId70" Type="http://schemas.openxmlformats.org/officeDocument/2006/relationships/slide" Target="slides/slide44.xml"/><Relationship Id="rId75" Type="http://schemas.openxmlformats.org/officeDocument/2006/relationships/slide" Target="slides/slide49.xml"/><Relationship Id="rId83" Type="http://schemas.openxmlformats.org/officeDocument/2006/relationships/slide" Target="slides/slide57.xml"/><Relationship Id="rId88" Type="http://schemas.openxmlformats.org/officeDocument/2006/relationships/slide" Target="slides/slide62.xml"/><Relationship Id="rId91" Type="http://schemas.openxmlformats.org/officeDocument/2006/relationships/slide" Target="slides/slide65.xml"/><Relationship Id="rId96" Type="http://schemas.openxmlformats.org/officeDocument/2006/relationships/slide" Target="slides/slide7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slide" Target="slides/slide23.xml"/><Relationship Id="rId57" Type="http://schemas.openxmlformats.org/officeDocument/2006/relationships/slide" Target="slides/slide31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5.xml"/><Relationship Id="rId44" Type="http://schemas.openxmlformats.org/officeDocument/2006/relationships/slide" Target="slides/slide18.xml"/><Relationship Id="rId52" Type="http://schemas.openxmlformats.org/officeDocument/2006/relationships/slide" Target="slides/slide26.xml"/><Relationship Id="rId60" Type="http://schemas.openxmlformats.org/officeDocument/2006/relationships/slide" Target="slides/slide34.xml"/><Relationship Id="rId65" Type="http://schemas.openxmlformats.org/officeDocument/2006/relationships/slide" Target="slides/slide39.xml"/><Relationship Id="rId73" Type="http://schemas.openxmlformats.org/officeDocument/2006/relationships/slide" Target="slides/slide47.xml"/><Relationship Id="rId78" Type="http://schemas.openxmlformats.org/officeDocument/2006/relationships/slide" Target="slides/slide52.xml"/><Relationship Id="rId81" Type="http://schemas.openxmlformats.org/officeDocument/2006/relationships/slide" Target="slides/slide55.xml"/><Relationship Id="rId86" Type="http://schemas.openxmlformats.org/officeDocument/2006/relationships/slide" Target="slides/slide60.xml"/><Relationship Id="rId94" Type="http://schemas.openxmlformats.org/officeDocument/2006/relationships/slide" Target="slides/slide68.xml"/><Relationship Id="rId99" Type="http://schemas.openxmlformats.org/officeDocument/2006/relationships/handoutMaster" Target="handoutMasters/handoutMaster1.xml"/><Relationship Id="rId10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" Target="slides/slide13.xml"/><Relationship Id="rId34" Type="http://schemas.openxmlformats.org/officeDocument/2006/relationships/slide" Target="slides/slide8.xml"/><Relationship Id="rId50" Type="http://schemas.openxmlformats.org/officeDocument/2006/relationships/slide" Target="slides/slide24.xml"/><Relationship Id="rId55" Type="http://schemas.openxmlformats.org/officeDocument/2006/relationships/slide" Target="slides/slide29.xml"/><Relationship Id="rId76" Type="http://schemas.openxmlformats.org/officeDocument/2006/relationships/slide" Target="slides/slide50.xml"/><Relationship Id="rId97" Type="http://schemas.openxmlformats.org/officeDocument/2006/relationships/slide" Target="slides/slide71.xml"/><Relationship Id="rId10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Chart%20in%20Microsoft%20PowerPoint" TargetMode="External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Office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 b="1" dirty="0"/>
              <a:t>Vaccinations Administered: 17 May - 21 July 2021</a:t>
            </a:r>
          </a:p>
        </c:rich>
      </c:tx>
      <c:layout>
        <c:manualLayout>
          <c:xMode val="edge"/>
          <c:yMode val="edge"/>
          <c:x val="0.124582737656162"/>
          <c:y val="1.7592644667641696E-2"/>
        </c:manualLayout>
      </c:layout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dPt>
            <c:idx val="5"/>
            <c:extLst xmlns:c16r2="http://schemas.microsoft.com/office/drawing/2015/06/chart">
              <c:ext xmlns:c16="http://schemas.microsoft.com/office/drawing/2014/chart" uri="{C3380CC4-5D6E-409C-BE32-E72D297353CC}">
                <c16:uniqueId val="{00000000-95EA-40C3-94B2-7CB3CA22CA08}"/>
              </c:ext>
            </c:extLst>
          </c:dPt>
          <c:dPt>
            <c:idx val="6"/>
            <c:extLst xmlns:c16r2="http://schemas.microsoft.com/office/drawing/2015/06/chart">
              <c:ext xmlns:c16="http://schemas.microsoft.com/office/drawing/2014/chart" uri="{C3380CC4-5D6E-409C-BE32-E72D297353CC}">
                <c16:uniqueId val="{00000001-95EA-40C3-94B2-7CB3CA22CA08}"/>
              </c:ext>
            </c:extLst>
          </c:dPt>
          <c:dPt>
            <c:idx val="7"/>
            <c:extLst xmlns:c16r2="http://schemas.microsoft.com/office/drawing/2015/06/chart">
              <c:ext xmlns:c16="http://schemas.microsoft.com/office/drawing/2014/chart" uri="{C3380CC4-5D6E-409C-BE32-E72D297353CC}">
                <c16:uniqueId val="{00000002-95EA-40C3-94B2-7CB3CA22CA08}"/>
              </c:ext>
            </c:extLst>
          </c:dPt>
          <c:dPt>
            <c:idx val="8"/>
            <c:extLst xmlns:c16r2="http://schemas.microsoft.com/office/drawing/2015/06/chart">
              <c:ext xmlns:c16="http://schemas.microsoft.com/office/drawing/2014/chart" uri="{C3380CC4-5D6E-409C-BE32-E72D297353CC}">
                <c16:uniqueId val="{00000003-95EA-40C3-94B2-7CB3CA22CA08}"/>
              </c:ext>
            </c:extLst>
          </c:dPt>
          <c:dPt>
            <c:idx val="9"/>
            <c:spPr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5EA-40C3-94B2-7CB3CA22CA0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3!$A$20:$A$29</c:f>
              <c:strCache>
                <c:ptCount val="10"/>
                <c:pt idx="0">
                  <c:v>Week 1: 17 - 22 May</c:v>
                </c:pt>
                <c:pt idx="1">
                  <c:v>Week 2: 23 - 30 May</c:v>
                </c:pt>
                <c:pt idx="2">
                  <c:v>Week 3: 31 May - 06 June</c:v>
                </c:pt>
                <c:pt idx="3">
                  <c:v>Week 4: 07 - 13 June</c:v>
                </c:pt>
                <c:pt idx="4">
                  <c:v>Week 5: 14 - 20 June</c:v>
                </c:pt>
                <c:pt idx="5">
                  <c:v>Week 6: 21 - 27 June</c:v>
                </c:pt>
                <c:pt idx="6">
                  <c:v>Week 7: 28 - 04 July</c:v>
                </c:pt>
                <c:pt idx="7">
                  <c:v>Week 8: 05 - 11 July </c:v>
                </c:pt>
                <c:pt idx="8">
                  <c:v>Week 9: 12 - 18 July</c:v>
                </c:pt>
                <c:pt idx="9">
                  <c:v>Week 10: 19 - 21 July</c:v>
                </c:pt>
              </c:strCache>
            </c:strRef>
          </c:cat>
          <c:val>
            <c:numRef>
              <c:f>Sheet3!$B$20:$B$29</c:f>
              <c:numCache>
                <c:formatCode>General</c:formatCode>
                <c:ptCount val="10"/>
                <c:pt idx="0">
                  <c:v>10327</c:v>
                </c:pt>
                <c:pt idx="1">
                  <c:v>35906</c:v>
                </c:pt>
                <c:pt idx="2">
                  <c:v>68212</c:v>
                </c:pt>
                <c:pt idx="3">
                  <c:v>73279</c:v>
                </c:pt>
                <c:pt idx="4">
                  <c:v>60477</c:v>
                </c:pt>
                <c:pt idx="5">
                  <c:v>54475</c:v>
                </c:pt>
                <c:pt idx="6">
                  <c:v>71245</c:v>
                </c:pt>
                <c:pt idx="7">
                  <c:v>133390</c:v>
                </c:pt>
                <c:pt idx="8">
                  <c:v>151772</c:v>
                </c:pt>
                <c:pt idx="9">
                  <c:v>904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5EA-40C3-94B2-7CB3CA22CA08}"/>
            </c:ext>
          </c:extLst>
        </c:ser>
        <c:dLbls/>
        <c:gapWidth val="219"/>
        <c:overlap val="-27"/>
        <c:axId val="138373760"/>
        <c:axId val="138375552"/>
      </c:barChart>
      <c:catAx>
        <c:axId val="138373760"/>
        <c:scaling>
          <c:orientation val="minMax"/>
        </c:scaling>
        <c:axPos val="b"/>
        <c:numFmt formatCode="General" sourceLinked="0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375552"/>
        <c:crosses val="autoZero"/>
        <c:auto val="1"/>
        <c:lblAlgn val="ctr"/>
        <c:lblOffset val="100"/>
      </c:catAx>
      <c:valAx>
        <c:axId val="13837555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8373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accent2"/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/>
          <a:lstStyle/>
          <a:p>
            <a:pPr algn="ctr">
              <a:defRPr/>
            </a:pPr>
            <a:r>
              <a:rPr lang="en-ZA" sz="1100" b="1" i="0" baseline="0" dirty="0">
                <a:effectLst/>
              </a:rPr>
              <a:t>Proportion Vaccines Administered: Public and Private Sectors</a:t>
            </a:r>
            <a:endParaRPr lang="en-ZA" sz="1100" dirty="0">
              <a:effectLst/>
            </a:endParaRPr>
          </a:p>
        </c:rich>
      </c:tx>
      <c:layout/>
    </c:title>
    <c:plotArea>
      <c:layout/>
      <c:pie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showCatName val="1"/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3!$B$1:$C$1</c:f>
              <c:strCache>
                <c:ptCount val="2"/>
                <c:pt idx="0">
                  <c:v>Private</c:v>
                </c:pt>
                <c:pt idx="1">
                  <c:v>Public</c:v>
                </c:pt>
              </c:strCache>
            </c:strRef>
          </c:cat>
          <c:val>
            <c:numRef>
              <c:f>Sheet3!$B$2:$C$2</c:f>
              <c:numCache>
                <c:formatCode>General</c:formatCode>
                <c:ptCount val="2"/>
                <c:pt idx="0">
                  <c:v>190273</c:v>
                </c:pt>
                <c:pt idx="1">
                  <c:v>5592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D9A-49F8-829A-EE22188A8B24}"/>
            </c:ext>
          </c:extLst>
        </c:ser>
        <c:dLbls>
          <c:showCatName val="1"/>
          <c:showPercent val="1"/>
        </c:dLbls>
        <c:firstSliceAng val="0"/>
      </c:pieChart>
    </c:plotArea>
    <c:plotVisOnly val="1"/>
    <c:dispBlanksAs val="zero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ZA" dirty="0">
                <a:latin typeface="Century Gothic" panose="020B0502020202020204" pitchFamily="34" charset="0"/>
              </a:rPr>
              <a:t>Total Vaccines</a:t>
            </a:r>
            <a:r>
              <a:rPr lang="en-ZA" baseline="0" dirty="0">
                <a:latin typeface="Century Gothic" panose="020B0502020202020204" pitchFamily="34" charset="0"/>
              </a:rPr>
              <a:t> Administered vs Weekly Targets</a:t>
            </a:r>
            <a:endParaRPr lang="en-ZA" dirty="0">
              <a:latin typeface="Century Gothic" panose="020B0502020202020204" pitchFamily="34" charset="0"/>
            </a:endParaRPr>
          </a:p>
        </c:rich>
      </c:tx>
    </c:title>
    <c:plotArea>
      <c:layout>
        <c:manualLayout>
          <c:layoutTarget val="inner"/>
          <c:xMode val="edge"/>
          <c:yMode val="edge"/>
          <c:x val="1.4697441025071287E-2"/>
          <c:y val="0.23687423619597828"/>
          <c:w val="0.96407292193871452"/>
          <c:h val="0.67828630152205316"/>
        </c:manualLayout>
      </c:layout>
      <c:lineChart>
        <c:grouping val="standard"/>
        <c:ser>
          <c:idx val="0"/>
          <c:order val="0"/>
          <c:tx>
            <c:strRef>
              <c:f>'[Chart in Microsoft PowerPoint]Sheet2'!$B$2</c:f>
              <c:strCache>
                <c:ptCount val="1"/>
                <c:pt idx="0">
                  <c:v>Target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</a:ln>
          </c:spPr>
          <c:marker>
            <c:symbol val="none"/>
          </c:marker>
          <c:dLbls>
            <c:delete val="1"/>
          </c:dLbls>
          <c:cat>
            <c:strRef>
              <c:f>'[Chart in Microsoft PowerPoint]Sheet2'!$A$3:$A$11</c:f>
              <c:strCache>
                <c:ptCount val="9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  <c:pt idx="5">
                  <c:v>Week 6</c:v>
                </c:pt>
                <c:pt idx="6">
                  <c:v>Week 7</c:v>
                </c:pt>
                <c:pt idx="7">
                  <c:v>Week 8</c:v>
                </c:pt>
                <c:pt idx="8">
                  <c:v>Week 9</c:v>
                </c:pt>
              </c:strCache>
            </c:strRef>
          </c:cat>
          <c:val>
            <c:numRef>
              <c:f>'[Chart in Microsoft PowerPoint]Sheet2'!$B$3:$B$11</c:f>
              <c:numCache>
                <c:formatCode>#,##0</c:formatCode>
                <c:ptCount val="9"/>
                <c:pt idx="0">
                  <c:v>10000</c:v>
                </c:pt>
                <c:pt idx="1">
                  <c:v>30000</c:v>
                </c:pt>
                <c:pt idx="2">
                  <c:v>60000</c:v>
                </c:pt>
                <c:pt idx="3">
                  <c:v>70000</c:v>
                </c:pt>
                <c:pt idx="4">
                  <c:v>60000</c:v>
                </c:pt>
                <c:pt idx="5">
                  <c:v>50000</c:v>
                </c:pt>
                <c:pt idx="6">
                  <c:v>80000</c:v>
                </c:pt>
                <c:pt idx="7">
                  <c:v>120000</c:v>
                </c:pt>
                <c:pt idx="8">
                  <c:v>12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AAE-4055-B870-C5D0DCC8DCB3}"/>
            </c:ext>
          </c:extLst>
        </c:ser>
        <c:ser>
          <c:idx val="1"/>
          <c:order val="1"/>
          <c:tx>
            <c:strRef>
              <c:f>'[Chart in Microsoft PowerPoint]Sheet2'!$C$2</c:f>
              <c:strCache>
                <c:ptCount val="1"/>
                <c:pt idx="0">
                  <c:v>Achieved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Chart in Microsoft PowerPoint]Sheet2'!$A$3:$A$11</c:f>
              <c:strCache>
                <c:ptCount val="9"/>
                <c:pt idx="0">
                  <c:v>Week 1</c:v>
                </c:pt>
                <c:pt idx="1">
                  <c:v>Week 2</c:v>
                </c:pt>
                <c:pt idx="2">
                  <c:v>Week 3</c:v>
                </c:pt>
                <c:pt idx="3">
                  <c:v>Week 4</c:v>
                </c:pt>
                <c:pt idx="4">
                  <c:v>Week 5</c:v>
                </c:pt>
                <c:pt idx="5">
                  <c:v>Week 6</c:v>
                </c:pt>
                <c:pt idx="6">
                  <c:v>Week 7</c:v>
                </c:pt>
                <c:pt idx="7">
                  <c:v>Week 8</c:v>
                </c:pt>
                <c:pt idx="8">
                  <c:v>Week 9</c:v>
                </c:pt>
              </c:strCache>
            </c:strRef>
          </c:cat>
          <c:val>
            <c:numRef>
              <c:f>'[Chart in Microsoft PowerPoint]Sheet2'!$C$3:$C$11</c:f>
              <c:numCache>
                <c:formatCode>#,##0</c:formatCode>
                <c:ptCount val="9"/>
                <c:pt idx="0">
                  <c:v>10327</c:v>
                </c:pt>
                <c:pt idx="1">
                  <c:v>35906</c:v>
                </c:pt>
                <c:pt idx="2">
                  <c:v>68212</c:v>
                </c:pt>
                <c:pt idx="3">
                  <c:v>73279</c:v>
                </c:pt>
                <c:pt idx="4">
                  <c:v>60477</c:v>
                </c:pt>
                <c:pt idx="5">
                  <c:v>54475</c:v>
                </c:pt>
                <c:pt idx="6">
                  <c:v>71245</c:v>
                </c:pt>
                <c:pt idx="7">
                  <c:v>133390</c:v>
                </c:pt>
                <c:pt idx="8">
                  <c:v>1517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AAE-4055-B870-C5D0DCC8DCB3}"/>
            </c:ext>
          </c:extLst>
        </c:ser>
        <c:dLbls>
          <c:showVal val="1"/>
        </c:dLbls>
        <c:marker val="1"/>
        <c:axId val="126391040"/>
        <c:axId val="126392576"/>
      </c:lineChart>
      <c:catAx>
        <c:axId val="126391040"/>
        <c:scaling>
          <c:orientation val="minMax"/>
        </c:scaling>
        <c:axPos val="b"/>
        <c:numFmt formatCode="General" sourceLinked="0"/>
        <c:majorTickMark val="none"/>
        <c:tickLblPos val="nextTo"/>
        <c:crossAx val="126392576"/>
        <c:crosses val="autoZero"/>
        <c:auto val="1"/>
        <c:lblAlgn val="ctr"/>
        <c:lblOffset val="100"/>
      </c:catAx>
      <c:valAx>
        <c:axId val="126392576"/>
        <c:scaling>
          <c:orientation val="minMax"/>
        </c:scaling>
        <c:delete val="1"/>
        <c:axPos val="l"/>
        <c:numFmt formatCode="#,##0" sourceLinked="1"/>
        <c:tickLblPos val="none"/>
        <c:crossAx val="126391040"/>
        <c:crosses val="autoZero"/>
        <c:crossBetween val="between"/>
      </c:valAx>
    </c:plotArea>
    <c:legend>
      <c:legendPos val="t"/>
    </c:legend>
    <c:plotVisOnly val="1"/>
    <c:dispBlanksAs val="gap"/>
  </c:chart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 sz="1400" b="1" i="0" kern="1200" baseline="0">
                <a:solidFill>
                  <a:srgbClr val="000000"/>
                </a:solidFill>
                <a:effectLst/>
              </a:rPr>
              <a:t>Proportion Fully Vaccinated of all Vaccines Administered</a:t>
            </a:r>
            <a:endParaRPr lang="en-ZA">
              <a:effectLst/>
            </a:endParaRPr>
          </a:p>
        </c:rich>
      </c:tx>
      <c:spPr>
        <a:noFill/>
        <a:ln>
          <a:noFill/>
        </a:ln>
        <a:effectLst/>
      </c:spPr>
    </c:title>
    <c:plotArea>
      <c:layout/>
      <c:pieChart>
        <c:varyColors val="1"/>
        <c:ser>
          <c:idx val="0"/>
          <c:order val="0"/>
          <c:dPt>
            <c:idx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872-4EA9-93AB-FDCC30059836}"/>
              </c:ext>
            </c:extLst>
          </c:dPt>
          <c:dPt>
            <c:idx val="1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872-4EA9-93AB-FDCC3005983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Val val="1"/>
            <c:showPercent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Fully Vaccinated'!$A$6:$A$7</c:f>
              <c:strCache>
                <c:ptCount val="2"/>
                <c:pt idx="0">
                  <c:v>Cumulative Total Fully Vaccinated (J&amp;J and 2nd Dose Pfizer)</c:v>
                </c:pt>
                <c:pt idx="1">
                  <c:v>Cumulative Total 1st Dose Pfizer</c:v>
                </c:pt>
              </c:strCache>
            </c:strRef>
          </c:cat>
          <c:val>
            <c:numRef>
              <c:f>'Fully Vaccinated'!$B$6:$B$7</c:f>
              <c:numCache>
                <c:formatCode>#,##0</c:formatCode>
                <c:ptCount val="2"/>
                <c:pt idx="0">
                  <c:v>272289</c:v>
                </c:pt>
                <c:pt idx="1">
                  <c:v>6126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872-4EA9-93AB-FDCC30059836}"/>
            </c:ext>
          </c:extLst>
        </c:ser>
        <c:dLbls>
          <c:showPercent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A6C4D3-6CA5-4362-BAE7-BB4769057285}" type="doc">
      <dgm:prSet loTypeId="urn:microsoft.com/office/officeart/2005/8/layout/venn3" loCatId="relationship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ECB54867-BB0E-4406-8C7A-071AF47B8541}">
      <dgm:prSet phldrT="[Text]" custT="1"/>
      <dgm:spPr>
        <a:solidFill>
          <a:schemeClr val="bg2">
            <a:lumMod val="75000"/>
            <a:alpha val="50000"/>
          </a:schemeClr>
        </a:solidFill>
      </dgm:spPr>
      <dgm:t>
        <a:bodyPr/>
        <a:lstStyle/>
        <a:p>
          <a:r>
            <a:rPr lang="en-US" sz="2800" b="1" dirty="0"/>
            <a:t>Wave 2</a:t>
          </a:r>
          <a:r>
            <a:rPr lang="en-US" sz="2800" dirty="0"/>
            <a:t>:</a:t>
          </a:r>
        </a:p>
      </dgm:t>
    </dgm:pt>
    <dgm:pt modelId="{D51565F5-BE6D-4BED-A4AD-407092022EDA}" type="parTrans" cxnId="{ECB07396-DAFE-4E62-99A9-BE427BB75107}">
      <dgm:prSet/>
      <dgm:spPr/>
      <dgm:t>
        <a:bodyPr/>
        <a:lstStyle/>
        <a:p>
          <a:endParaRPr lang="en-US"/>
        </a:p>
      </dgm:t>
    </dgm:pt>
    <dgm:pt modelId="{EAE1DF63-B2AB-49EB-8795-6A9944024CCA}" type="sibTrans" cxnId="{ECB07396-DAFE-4E62-99A9-BE427BB75107}">
      <dgm:prSet/>
      <dgm:spPr/>
      <dgm:t>
        <a:bodyPr/>
        <a:lstStyle/>
        <a:p>
          <a:endParaRPr lang="en-US"/>
        </a:p>
      </dgm:t>
    </dgm:pt>
    <dgm:pt modelId="{71E18997-5D44-4794-9BC7-1EC6693B35E4}">
      <dgm:prSet phldrT="[Text]" custT="1"/>
      <dgm:spPr>
        <a:solidFill>
          <a:schemeClr val="accent6">
            <a:lumMod val="75000"/>
            <a:alpha val="50000"/>
          </a:schemeClr>
        </a:solidFill>
      </dgm:spPr>
      <dgm:t>
        <a:bodyPr/>
        <a:lstStyle/>
        <a:p>
          <a:r>
            <a:rPr lang="en-US" sz="3200" b="1" dirty="0"/>
            <a:t>Wave 3</a:t>
          </a:r>
          <a:r>
            <a:rPr lang="en-US" sz="3200" dirty="0"/>
            <a:t>:</a:t>
          </a:r>
        </a:p>
      </dgm:t>
    </dgm:pt>
    <dgm:pt modelId="{528B504C-40EA-467B-AC8F-DE8D32412A63}" type="parTrans" cxnId="{84C6E2A4-BAC7-4803-8C73-0FF5F850CA22}">
      <dgm:prSet/>
      <dgm:spPr/>
      <dgm:t>
        <a:bodyPr/>
        <a:lstStyle/>
        <a:p>
          <a:endParaRPr lang="en-US"/>
        </a:p>
      </dgm:t>
    </dgm:pt>
    <dgm:pt modelId="{57135DA8-4BFE-48D6-B033-74F4F5FB070D}" type="sibTrans" cxnId="{84C6E2A4-BAC7-4803-8C73-0FF5F850CA22}">
      <dgm:prSet/>
      <dgm:spPr/>
      <dgm:t>
        <a:bodyPr/>
        <a:lstStyle/>
        <a:p>
          <a:endParaRPr lang="en-US"/>
        </a:p>
      </dgm:t>
    </dgm:pt>
    <dgm:pt modelId="{AC6A4F21-888E-4DB1-B117-304C1758F87F}">
      <dgm:prSet phldrT="[Text]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en-US" b="1" dirty="0"/>
            <a:t>Wave 1</a:t>
          </a:r>
          <a:r>
            <a:rPr lang="en-US" dirty="0"/>
            <a:t>:</a:t>
          </a:r>
        </a:p>
      </dgm:t>
    </dgm:pt>
    <dgm:pt modelId="{480C33E6-926F-47E9-AA5C-5CB296B3E013}" type="parTrans" cxnId="{CF275C42-E989-456B-8A68-BDA9828AD797}">
      <dgm:prSet/>
      <dgm:spPr/>
      <dgm:t>
        <a:bodyPr/>
        <a:lstStyle/>
        <a:p>
          <a:endParaRPr lang="en-US"/>
        </a:p>
      </dgm:t>
    </dgm:pt>
    <dgm:pt modelId="{C5DC336C-CCB1-4C06-A8AF-22FBD34B4D7C}" type="sibTrans" cxnId="{CF275C42-E989-456B-8A68-BDA9828AD797}">
      <dgm:prSet/>
      <dgm:spPr/>
      <dgm:t>
        <a:bodyPr/>
        <a:lstStyle/>
        <a:p>
          <a:endParaRPr lang="en-US"/>
        </a:p>
      </dgm:t>
    </dgm:pt>
    <dgm:pt modelId="{0CF7E996-35DD-46E1-B6E7-8CED8CE2D318}">
      <dgm:prSet phldrT="[Text]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en-US" dirty="0"/>
            <a:t>1681 (acute and intermediate care beds)</a:t>
          </a:r>
        </a:p>
      </dgm:t>
    </dgm:pt>
    <dgm:pt modelId="{D5917671-203D-486E-B437-A39A9479983C}" type="parTrans" cxnId="{024ED287-DA8A-4485-A1B2-1A2D11A5A48E}">
      <dgm:prSet/>
      <dgm:spPr/>
      <dgm:t>
        <a:bodyPr/>
        <a:lstStyle/>
        <a:p>
          <a:endParaRPr lang="en-US"/>
        </a:p>
      </dgm:t>
    </dgm:pt>
    <dgm:pt modelId="{60063227-CA2E-4FD5-A57C-6AA308A53915}" type="sibTrans" cxnId="{024ED287-DA8A-4485-A1B2-1A2D11A5A48E}">
      <dgm:prSet/>
      <dgm:spPr/>
      <dgm:t>
        <a:bodyPr/>
        <a:lstStyle/>
        <a:p>
          <a:endParaRPr lang="en-US"/>
        </a:p>
      </dgm:t>
    </dgm:pt>
    <dgm:pt modelId="{79A5E509-63A4-4F34-961D-788EB5EF044E}">
      <dgm:prSet phldrT="[Text]" custT="1"/>
      <dgm:spPr>
        <a:solidFill>
          <a:schemeClr val="bg2">
            <a:lumMod val="75000"/>
            <a:alpha val="50000"/>
          </a:schemeClr>
        </a:solidFill>
      </dgm:spPr>
      <dgm:t>
        <a:bodyPr/>
        <a:lstStyle/>
        <a:p>
          <a:r>
            <a:rPr lang="en-US" sz="2400" dirty="0"/>
            <a:t>2330    </a:t>
          </a:r>
          <a:r>
            <a:rPr lang="en-US" sz="2000" dirty="0"/>
            <a:t>(acute and intermediate care beds)</a:t>
          </a:r>
          <a:endParaRPr lang="en-US" sz="2400" dirty="0"/>
        </a:p>
      </dgm:t>
    </dgm:pt>
    <dgm:pt modelId="{70A2E227-C2E1-4848-823C-B0BC3B8D44D4}" type="parTrans" cxnId="{40F9CDA8-B7CE-4F5D-9A40-70F5D4448A2C}">
      <dgm:prSet/>
      <dgm:spPr/>
      <dgm:t>
        <a:bodyPr/>
        <a:lstStyle/>
        <a:p>
          <a:endParaRPr lang="en-US"/>
        </a:p>
      </dgm:t>
    </dgm:pt>
    <dgm:pt modelId="{E192B359-109B-4D7F-9B16-3721B7662317}" type="sibTrans" cxnId="{40F9CDA8-B7CE-4F5D-9A40-70F5D4448A2C}">
      <dgm:prSet/>
      <dgm:spPr/>
      <dgm:t>
        <a:bodyPr/>
        <a:lstStyle/>
        <a:p>
          <a:endParaRPr lang="en-US"/>
        </a:p>
      </dgm:t>
    </dgm:pt>
    <dgm:pt modelId="{DFB8B640-CC6D-401D-87B3-028C9444FB53}">
      <dgm:prSet phldrT="[Text]" custT="1"/>
      <dgm:spPr>
        <a:solidFill>
          <a:schemeClr val="accent6">
            <a:lumMod val="75000"/>
            <a:alpha val="50000"/>
          </a:schemeClr>
        </a:solidFill>
      </dgm:spPr>
      <dgm:t>
        <a:bodyPr/>
        <a:lstStyle/>
        <a:p>
          <a:r>
            <a:rPr lang="en-US" sz="2800" dirty="0"/>
            <a:t>2690 (+/-90) </a:t>
          </a:r>
          <a:r>
            <a:rPr lang="en-US" sz="2400" dirty="0"/>
            <a:t>(acute and intermediate care beds)</a:t>
          </a:r>
          <a:endParaRPr lang="en-US" sz="2800" dirty="0"/>
        </a:p>
      </dgm:t>
    </dgm:pt>
    <dgm:pt modelId="{B7223721-0296-4FC4-866E-7DCA1845D82D}" type="parTrans" cxnId="{BB64D74E-9210-421C-AC9B-BE9FE5145AF9}">
      <dgm:prSet/>
      <dgm:spPr/>
      <dgm:t>
        <a:bodyPr/>
        <a:lstStyle/>
        <a:p>
          <a:endParaRPr lang="en-US"/>
        </a:p>
      </dgm:t>
    </dgm:pt>
    <dgm:pt modelId="{BEFF9FA2-E47E-4706-8C64-DDBA1BFE5D21}" type="sibTrans" cxnId="{BB64D74E-9210-421C-AC9B-BE9FE5145AF9}">
      <dgm:prSet/>
      <dgm:spPr/>
      <dgm:t>
        <a:bodyPr/>
        <a:lstStyle/>
        <a:p>
          <a:endParaRPr lang="en-US"/>
        </a:p>
      </dgm:t>
    </dgm:pt>
    <dgm:pt modelId="{3DD2AAE6-4059-4CAD-B6A5-CD8908747A6D}" type="pres">
      <dgm:prSet presAssocID="{56A6C4D3-6CA5-4362-BAE7-BB476905728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129C73CA-40DA-4498-828E-92856BB8BCF4}" type="pres">
      <dgm:prSet presAssocID="{AC6A4F21-888E-4DB1-B117-304C1758F87F}" presName="Name5" presStyleLbl="vennNode1" presStyleIdx="0" presStyleCnt="3" custScaleX="67917" custScaleY="64785" custLinFactNeighborX="-18825" custLinFactNeighborY="-231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D9CFB4DE-410C-4DB1-B33C-059DCB3F7746}" type="pres">
      <dgm:prSet presAssocID="{C5DC336C-CCB1-4C06-A8AF-22FBD34B4D7C}" presName="space" presStyleCnt="0"/>
      <dgm:spPr/>
    </dgm:pt>
    <dgm:pt modelId="{C51B9CA8-53BF-4618-A8BF-1ECF57FCCBC9}" type="pres">
      <dgm:prSet presAssocID="{ECB54867-BB0E-4406-8C7A-071AF47B8541}" presName="Name5" presStyleLbl="vennNode1" presStyleIdx="1" presStyleCnt="3" custScaleX="86853" custScaleY="8787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5B85964-12D8-4BD6-B058-EB54AC0526A3}" type="pres">
      <dgm:prSet presAssocID="{EAE1DF63-B2AB-49EB-8795-6A9944024CCA}" presName="space" presStyleCnt="0"/>
      <dgm:spPr/>
    </dgm:pt>
    <dgm:pt modelId="{D2F54D84-90F5-4F72-91E2-C692E2BAD9EF}" type="pres">
      <dgm:prSet presAssocID="{71E18997-5D44-4794-9BC7-1EC6693B35E4}" presName="Name5" presStyleLbl="venn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84C6E2A4-BAC7-4803-8C73-0FF5F850CA22}" srcId="{56A6C4D3-6CA5-4362-BAE7-BB4769057285}" destId="{71E18997-5D44-4794-9BC7-1EC6693B35E4}" srcOrd="2" destOrd="0" parTransId="{528B504C-40EA-467B-AC8F-DE8D32412A63}" sibTransId="{57135DA8-4BFE-48D6-B033-74F4F5FB070D}"/>
    <dgm:cxn modelId="{BB64D74E-9210-421C-AC9B-BE9FE5145AF9}" srcId="{71E18997-5D44-4794-9BC7-1EC6693B35E4}" destId="{DFB8B640-CC6D-401D-87B3-028C9444FB53}" srcOrd="0" destOrd="0" parTransId="{B7223721-0296-4FC4-866E-7DCA1845D82D}" sibTransId="{BEFF9FA2-E47E-4706-8C64-DDBA1BFE5D21}"/>
    <dgm:cxn modelId="{CF275C42-E989-456B-8A68-BDA9828AD797}" srcId="{56A6C4D3-6CA5-4362-BAE7-BB4769057285}" destId="{AC6A4F21-888E-4DB1-B117-304C1758F87F}" srcOrd="0" destOrd="0" parTransId="{480C33E6-926F-47E9-AA5C-5CB296B3E013}" sibTransId="{C5DC336C-CCB1-4C06-A8AF-22FBD34B4D7C}"/>
    <dgm:cxn modelId="{024ED287-DA8A-4485-A1B2-1A2D11A5A48E}" srcId="{AC6A4F21-888E-4DB1-B117-304C1758F87F}" destId="{0CF7E996-35DD-46E1-B6E7-8CED8CE2D318}" srcOrd="0" destOrd="0" parTransId="{D5917671-203D-486E-B437-A39A9479983C}" sibTransId="{60063227-CA2E-4FD5-A57C-6AA308A53915}"/>
    <dgm:cxn modelId="{60503A56-60DD-44E3-8794-355BB3E2B5DE}" type="presOf" srcId="{56A6C4D3-6CA5-4362-BAE7-BB4769057285}" destId="{3DD2AAE6-4059-4CAD-B6A5-CD8908747A6D}" srcOrd="0" destOrd="0" presId="urn:microsoft.com/office/officeart/2005/8/layout/venn3"/>
    <dgm:cxn modelId="{76403347-D69F-4DF3-BF96-93EF8BAA526A}" type="presOf" srcId="{0CF7E996-35DD-46E1-B6E7-8CED8CE2D318}" destId="{129C73CA-40DA-4498-828E-92856BB8BCF4}" srcOrd="0" destOrd="1" presId="urn:microsoft.com/office/officeart/2005/8/layout/venn3"/>
    <dgm:cxn modelId="{CA62D90D-B914-4E6C-8E75-4D1A76E99986}" type="presOf" srcId="{79A5E509-63A4-4F34-961D-788EB5EF044E}" destId="{C51B9CA8-53BF-4618-A8BF-1ECF57FCCBC9}" srcOrd="0" destOrd="1" presId="urn:microsoft.com/office/officeart/2005/8/layout/venn3"/>
    <dgm:cxn modelId="{2AE37F27-006B-4234-B1C9-E69E079F245D}" type="presOf" srcId="{AC6A4F21-888E-4DB1-B117-304C1758F87F}" destId="{129C73CA-40DA-4498-828E-92856BB8BCF4}" srcOrd="0" destOrd="0" presId="urn:microsoft.com/office/officeart/2005/8/layout/venn3"/>
    <dgm:cxn modelId="{A27B7DF8-33AD-4418-9B52-9F80438DE935}" type="presOf" srcId="{ECB54867-BB0E-4406-8C7A-071AF47B8541}" destId="{C51B9CA8-53BF-4618-A8BF-1ECF57FCCBC9}" srcOrd="0" destOrd="0" presId="urn:microsoft.com/office/officeart/2005/8/layout/venn3"/>
    <dgm:cxn modelId="{ECB07396-DAFE-4E62-99A9-BE427BB75107}" srcId="{56A6C4D3-6CA5-4362-BAE7-BB4769057285}" destId="{ECB54867-BB0E-4406-8C7A-071AF47B8541}" srcOrd="1" destOrd="0" parTransId="{D51565F5-BE6D-4BED-A4AD-407092022EDA}" sibTransId="{EAE1DF63-B2AB-49EB-8795-6A9944024CCA}"/>
    <dgm:cxn modelId="{B5D59299-801D-4B68-94C0-869A2CEABC50}" type="presOf" srcId="{DFB8B640-CC6D-401D-87B3-028C9444FB53}" destId="{D2F54D84-90F5-4F72-91E2-C692E2BAD9EF}" srcOrd="0" destOrd="1" presId="urn:microsoft.com/office/officeart/2005/8/layout/venn3"/>
    <dgm:cxn modelId="{40F9CDA8-B7CE-4F5D-9A40-70F5D4448A2C}" srcId="{ECB54867-BB0E-4406-8C7A-071AF47B8541}" destId="{79A5E509-63A4-4F34-961D-788EB5EF044E}" srcOrd="0" destOrd="0" parTransId="{70A2E227-C2E1-4848-823C-B0BC3B8D44D4}" sibTransId="{E192B359-109B-4D7F-9B16-3721B7662317}"/>
    <dgm:cxn modelId="{A55C4729-AA45-4E39-BF29-1A82901BFE61}" type="presOf" srcId="{71E18997-5D44-4794-9BC7-1EC6693B35E4}" destId="{D2F54D84-90F5-4F72-91E2-C692E2BAD9EF}" srcOrd="0" destOrd="0" presId="urn:microsoft.com/office/officeart/2005/8/layout/venn3"/>
    <dgm:cxn modelId="{541E0CB7-E73E-41F6-9805-F2F4B6193256}" type="presParOf" srcId="{3DD2AAE6-4059-4CAD-B6A5-CD8908747A6D}" destId="{129C73CA-40DA-4498-828E-92856BB8BCF4}" srcOrd="0" destOrd="0" presId="urn:microsoft.com/office/officeart/2005/8/layout/venn3"/>
    <dgm:cxn modelId="{7D0553CE-8DDE-47D5-9762-3A99C73E9A06}" type="presParOf" srcId="{3DD2AAE6-4059-4CAD-B6A5-CD8908747A6D}" destId="{D9CFB4DE-410C-4DB1-B33C-059DCB3F7746}" srcOrd="1" destOrd="0" presId="urn:microsoft.com/office/officeart/2005/8/layout/venn3"/>
    <dgm:cxn modelId="{FF1BD213-8FD0-4EEE-93FB-7D48EC9F2C5D}" type="presParOf" srcId="{3DD2AAE6-4059-4CAD-B6A5-CD8908747A6D}" destId="{C51B9CA8-53BF-4618-A8BF-1ECF57FCCBC9}" srcOrd="2" destOrd="0" presId="urn:microsoft.com/office/officeart/2005/8/layout/venn3"/>
    <dgm:cxn modelId="{F1E4D936-5EA6-4931-AA6A-CBF5D0CB5FAF}" type="presParOf" srcId="{3DD2AAE6-4059-4CAD-B6A5-CD8908747A6D}" destId="{45B85964-12D8-4BD6-B058-EB54AC0526A3}" srcOrd="3" destOrd="0" presId="urn:microsoft.com/office/officeart/2005/8/layout/venn3"/>
    <dgm:cxn modelId="{3E002950-E561-4941-9A8A-2EABD40F353B}" type="presParOf" srcId="{3DD2AAE6-4059-4CAD-B6A5-CD8908747A6D}" destId="{D2F54D84-90F5-4F72-91E2-C692E2BAD9EF}" srcOrd="4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6A6C4D3-6CA5-4362-BAE7-BB4769057285}" type="doc">
      <dgm:prSet loTypeId="urn:microsoft.com/office/officeart/2005/8/layout/venn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B54867-BB0E-4406-8C7A-071AF47B8541}">
      <dgm:prSet phldrT="[Text]" custT="1"/>
      <dgm:spPr>
        <a:solidFill>
          <a:schemeClr val="bg2">
            <a:lumMod val="75000"/>
            <a:alpha val="50000"/>
          </a:schemeClr>
        </a:solidFill>
      </dgm:spPr>
      <dgm:t>
        <a:bodyPr/>
        <a:lstStyle/>
        <a:p>
          <a:r>
            <a:rPr lang="en-US" sz="2800" b="1" dirty="0"/>
            <a:t>Wave 2</a:t>
          </a:r>
          <a:r>
            <a:rPr lang="en-US" sz="2800" dirty="0"/>
            <a:t>:</a:t>
          </a:r>
        </a:p>
      </dgm:t>
    </dgm:pt>
    <dgm:pt modelId="{D51565F5-BE6D-4BED-A4AD-407092022EDA}" type="parTrans" cxnId="{ECB07396-DAFE-4E62-99A9-BE427BB75107}">
      <dgm:prSet/>
      <dgm:spPr/>
      <dgm:t>
        <a:bodyPr/>
        <a:lstStyle/>
        <a:p>
          <a:endParaRPr lang="en-US"/>
        </a:p>
      </dgm:t>
    </dgm:pt>
    <dgm:pt modelId="{EAE1DF63-B2AB-49EB-8795-6A9944024CCA}" type="sibTrans" cxnId="{ECB07396-DAFE-4E62-99A9-BE427BB75107}">
      <dgm:prSet/>
      <dgm:spPr/>
      <dgm:t>
        <a:bodyPr/>
        <a:lstStyle/>
        <a:p>
          <a:endParaRPr lang="en-US"/>
        </a:p>
      </dgm:t>
    </dgm:pt>
    <dgm:pt modelId="{71E18997-5D44-4794-9BC7-1EC6693B35E4}">
      <dgm:prSet phldrT="[Text]" custT="1"/>
      <dgm:spPr>
        <a:solidFill>
          <a:schemeClr val="accent6">
            <a:lumMod val="75000"/>
            <a:alpha val="50000"/>
          </a:schemeClr>
        </a:solidFill>
      </dgm:spPr>
      <dgm:t>
        <a:bodyPr/>
        <a:lstStyle/>
        <a:p>
          <a:r>
            <a:rPr lang="en-US" sz="3200" b="1" dirty="0"/>
            <a:t>Wave 3</a:t>
          </a:r>
          <a:r>
            <a:rPr lang="en-US" sz="3200" dirty="0"/>
            <a:t>:</a:t>
          </a:r>
        </a:p>
      </dgm:t>
    </dgm:pt>
    <dgm:pt modelId="{528B504C-40EA-467B-AC8F-DE8D32412A63}" type="parTrans" cxnId="{84C6E2A4-BAC7-4803-8C73-0FF5F850CA22}">
      <dgm:prSet/>
      <dgm:spPr/>
      <dgm:t>
        <a:bodyPr/>
        <a:lstStyle/>
        <a:p>
          <a:endParaRPr lang="en-US"/>
        </a:p>
      </dgm:t>
    </dgm:pt>
    <dgm:pt modelId="{57135DA8-4BFE-48D6-B033-74F4F5FB070D}" type="sibTrans" cxnId="{84C6E2A4-BAC7-4803-8C73-0FF5F850CA22}">
      <dgm:prSet/>
      <dgm:spPr/>
      <dgm:t>
        <a:bodyPr/>
        <a:lstStyle/>
        <a:p>
          <a:endParaRPr lang="en-US"/>
        </a:p>
      </dgm:t>
    </dgm:pt>
    <dgm:pt modelId="{AC6A4F21-888E-4DB1-B117-304C1758F87F}">
      <dgm:prSet phldrT="[Text]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en-US" b="1" dirty="0"/>
            <a:t>Wave 1</a:t>
          </a:r>
          <a:r>
            <a:rPr lang="en-US" dirty="0"/>
            <a:t>:</a:t>
          </a:r>
        </a:p>
      </dgm:t>
    </dgm:pt>
    <dgm:pt modelId="{480C33E6-926F-47E9-AA5C-5CB296B3E013}" type="parTrans" cxnId="{CF275C42-E989-456B-8A68-BDA9828AD797}">
      <dgm:prSet/>
      <dgm:spPr/>
      <dgm:t>
        <a:bodyPr/>
        <a:lstStyle/>
        <a:p>
          <a:endParaRPr lang="en-US"/>
        </a:p>
      </dgm:t>
    </dgm:pt>
    <dgm:pt modelId="{C5DC336C-CCB1-4C06-A8AF-22FBD34B4D7C}" type="sibTrans" cxnId="{CF275C42-E989-456B-8A68-BDA9828AD797}">
      <dgm:prSet/>
      <dgm:spPr/>
      <dgm:t>
        <a:bodyPr/>
        <a:lstStyle/>
        <a:p>
          <a:endParaRPr lang="en-US"/>
        </a:p>
      </dgm:t>
    </dgm:pt>
    <dgm:pt modelId="{0CF7E996-35DD-46E1-B6E7-8CED8CE2D318}">
      <dgm:prSet phldrT="[Text]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en-US" dirty="0"/>
            <a:t>266 (Ventilation + HFNO)</a:t>
          </a:r>
        </a:p>
      </dgm:t>
    </dgm:pt>
    <dgm:pt modelId="{D5917671-203D-486E-B437-A39A9479983C}" type="parTrans" cxnId="{024ED287-DA8A-4485-A1B2-1A2D11A5A48E}">
      <dgm:prSet/>
      <dgm:spPr/>
      <dgm:t>
        <a:bodyPr/>
        <a:lstStyle/>
        <a:p>
          <a:endParaRPr lang="en-US"/>
        </a:p>
      </dgm:t>
    </dgm:pt>
    <dgm:pt modelId="{60063227-CA2E-4FD5-A57C-6AA308A53915}" type="sibTrans" cxnId="{024ED287-DA8A-4485-A1B2-1A2D11A5A48E}">
      <dgm:prSet/>
      <dgm:spPr/>
      <dgm:t>
        <a:bodyPr/>
        <a:lstStyle/>
        <a:p>
          <a:endParaRPr lang="en-US"/>
        </a:p>
      </dgm:t>
    </dgm:pt>
    <dgm:pt modelId="{79A5E509-63A4-4F34-961D-788EB5EF044E}">
      <dgm:prSet phldrT="[Text]" custT="1"/>
      <dgm:spPr>
        <a:solidFill>
          <a:schemeClr val="bg2">
            <a:lumMod val="75000"/>
            <a:alpha val="50000"/>
          </a:schemeClr>
        </a:solidFill>
      </dgm:spPr>
      <dgm:t>
        <a:bodyPr/>
        <a:lstStyle/>
        <a:p>
          <a:r>
            <a:rPr lang="en-US" sz="2400" dirty="0"/>
            <a:t>378 (Ventilation + HFNO)</a:t>
          </a:r>
        </a:p>
      </dgm:t>
    </dgm:pt>
    <dgm:pt modelId="{70A2E227-C2E1-4848-823C-B0BC3B8D44D4}" type="parTrans" cxnId="{40F9CDA8-B7CE-4F5D-9A40-70F5D4448A2C}">
      <dgm:prSet/>
      <dgm:spPr/>
      <dgm:t>
        <a:bodyPr/>
        <a:lstStyle/>
        <a:p>
          <a:endParaRPr lang="en-US"/>
        </a:p>
      </dgm:t>
    </dgm:pt>
    <dgm:pt modelId="{E192B359-109B-4D7F-9B16-3721B7662317}" type="sibTrans" cxnId="{40F9CDA8-B7CE-4F5D-9A40-70F5D4448A2C}">
      <dgm:prSet/>
      <dgm:spPr/>
      <dgm:t>
        <a:bodyPr/>
        <a:lstStyle/>
        <a:p>
          <a:endParaRPr lang="en-US"/>
        </a:p>
      </dgm:t>
    </dgm:pt>
    <dgm:pt modelId="{DFB8B640-CC6D-401D-87B3-028C9444FB53}">
      <dgm:prSet phldrT="[Text]" custT="1"/>
      <dgm:spPr>
        <a:solidFill>
          <a:schemeClr val="accent6">
            <a:lumMod val="75000"/>
            <a:alpha val="50000"/>
          </a:schemeClr>
        </a:solidFill>
      </dgm:spPr>
      <dgm:t>
        <a:bodyPr/>
        <a:lstStyle/>
        <a:p>
          <a:r>
            <a:rPr lang="en-US" sz="2800" dirty="0"/>
            <a:t>420 (Ventilation + HFNO)</a:t>
          </a:r>
        </a:p>
      </dgm:t>
    </dgm:pt>
    <dgm:pt modelId="{B7223721-0296-4FC4-866E-7DCA1845D82D}" type="parTrans" cxnId="{BB64D74E-9210-421C-AC9B-BE9FE5145AF9}">
      <dgm:prSet/>
      <dgm:spPr/>
      <dgm:t>
        <a:bodyPr/>
        <a:lstStyle/>
        <a:p>
          <a:endParaRPr lang="en-US"/>
        </a:p>
      </dgm:t>
    </dgm:pt>
    <dgm:pt modelId="{BEFF9FA2-E47E-4706-8C64-DDBA1BFE5D21}" type="sibTrans" cxnId="{BB64D74E-9210-421C-AC9B-BE9FE5145AF9}">
      <dgm:prSet/>
      <dgm:spPr/>
      <dgm:t>
        <a:bodyPr/>
        <a:lstStyle/>
        <a:p>
          <a:endParaRPr lang="en-US"/>
        </a:p>
      </dgm:t>
    </dgm:pt>
    <dgm:pt modelId="{3DD2AAE6-4059-4CAD-B6A5-CD8908747A6D}" type="pres">
      <dgm:prSet presAssocID="{56A6C4D3-6CA5-4362-BAE7-BB476905728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129C73CA-40DA-4498-828E-92856BB8BCF4}" type="pres">
      <dgm:prSet presAssocID="{AC6A4F21-888E-4DB1-B117-304C1758F87F}" presName="Name5" presStyleLbl="vennNode1" presStyleIdx="0" presStyleCnt="3" custScaleX="67917" custScaleY="6478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D9CFB4DE-410C-4DB1-B33C-059DCB3F7746}" type="pres">
      <dgm:prSet presAssocID="{C5DC336C-CCB1-4C06-A8AF-22FBD34B4D7C}" presName="space" presStyleCnt="0"/>
      <dgm:spPr/>
    </dgm:pt>
    <dgm:pt modelId="{C51B9CA8-53BF-4618-A8BF-1ECF57FCCBC9}" type="pres">
      <dgm:prSet presAssocID="{ECB54867-BB0E-4406-8C7A-071AF47B8541}" presName="Name5" presStyleLbl="vennNode1" presStyleIdx="1" presStyleCnt="3" custScaleX="86853" custScaleY="8787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5B85964-12D8-4BD6-B058-EB54AC0526A3}" type="pres">
      <dgm:prSet presAssocID="{EAE1DF63-B2AB-49EB-8795-6A9944024CCA}" presName="space" presStyleCnt="0"/>
      <dgm:spPr/>
    </dgm:pt>
    <dgm:pt modelId="{D2F54D84-90F5-4F72-91E2-C692E2BAD9EF}" type="pres">
      <dgm:prSet presAssocID="{71E18997-5D44-4794-9BC7-1EC6693B35E4}" presName="Name5" presStyleLbl="venn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84C6E2A4-BAC7-4803-8C73-0FF5F850CA22}" srcId="{56A6C4D3-6CA5-4362-BAE7-BB4769057285}" destId="{71E18997-5D44-4794-9BC7-1EC6693B35E4}" srcOrd="2" destOrd="0" parTransId="{528B504C-40EA-467B-AC8F-DE8D32412A63}" sibTransId="{57135DA8-4BFE-48D6-B033-74F4F5FB070D}"/>
    <dgm:cxn modelId="{BB64D74E-9210-421C-AC9B-BE9FE5145AF9}" srcId="{71E18997-5D44-4794-9BC7-1EC6693B35E4}" destId="{DFB8B640-CC6D-401D-87B3-028C9444FB53}" srcOrd="0" destOrd="0" parTransId="{B7223721-0296-4FC4-866E-7DCA1845D82D}" sibTransId="{BEFF9FA2-E47E-4706-8C64-DDBA1BFE5D21}"/>
    <dgm:cxn modelId="{CF275C42-E989-456B-8A68-BDA9828AD797}" srcId="{56A6C4D3-6CA5-4362-BAE7-BB4769057285}" destId="{AC6A4F21-888E-4DB1-B117-304C1758F87F}" srcOrd="0" destOrd="0" parTransId="{480C33E6-926F-47E9-AA5C-5CB296B3E013}" sibTransId="{C5DC336C-CCB1-4C06-A8AF-22FBD34B4D7C}"/>
    <dgm:cxn modelId="{024ED287-DA8A-4485-A1B2-1A2D11A5A48E}" srcId="{AC6A4F21-888E-4DB1-B117-304C1758F87F}" destId="{0CF7E996-35DD-46E1-B6E7-8CED8CE2D318}" srcOrd="0" destOrd="0" parTransId="{D5917671-203D-486E-B437-A39A9479983C}" sibTransId="{60063227-CA2E-4FD5-A57C-6AA308A53915}"/>
    <dgm:cxn modelId="{60503A56-60DD-44E3-8794-355BB3E2B5DE}" type="presOf" srcId="{56A6C4D3-6CA5-4362-BAE7-BB4769057285}" destId="{3DD2AAE6-4059-4CAD-B6A5-CD8908747A6D}" srcOrd="0" destOrd="0" presId="urn:microsoft.com/office/officeart/2005/8/layout/venn3"/>
    <dgm:cxn modelId="{76403347-D69F-4DF3-BF96-93EF8BAA526A}" type="presOf" srcId="{0CF7E996-35DD-46E1-B6E7-8CED8CE2D318}" destId="{129C73CA-40DA-4498-828E-92856BB8BCF4}" srcOrd="0" destOrd="1" presId="urn:microsoft.com/office/officeart/2005/8/layout/venn3"/>
    <dgm:cxn modelId="{CA62D90D-B914-4E6C-8E75-4D1A76E99986}" type="presOf" srcId="{79A5E509-63A4-4F34-961D-788EB5EF044E}" destId="{C51B9CA8-53BF-4618-A8BF-1ECF57FCCBC9}" srcOrd="0" destOrd="1" presId="urn:microsoft.com/office/officeart/2005/8/layout/venn3"/>
    <dgm:cxn modelId="{2AE37F27-006B-4234-B1C9-E69E079F245D}" type="presOf" srcId="{AC6A4F21-888E-4DB1-B117-304C1758F87F}" destId="{129C73CA-40DA-4498-828E-92856BB8BCF4}" srcOrd="0" destOrd="0" presId="urn:microsoft.com/office/officeart/2005/8/layout/venn3"/>
    <dgm:cxn modelId="{A27B7DF8-33AD-4418-9B52-9F80438DE935}" type="presOf" srcId="{ECB54867-BB0E-4406-8C7A-071AF47B8541}" destId="{C51B9CA8-53BF-4618-A8BF-1ECF57FCCBC9}" srcOrd="0" destOrd="0" presId="urn:microsoft.com/office/officeart/2005/8/layout/venn3"/>
    <dgm:cxn modelId="{ECB07396-DAFE-4E62-99A9-BE427BB75107}" srcId="{56A6C4D3-6CA5-4362-BAE7-BB4769057285}" destId="{ECB54867-BB0E-4406-8C7A-071AF47B8541}" srcOrd="1" destOrd="0" parTransId="{D51565F5-BE6D-4BED-A4AD-407092022EDA}" sibTransId="{EAE1DF63-B2AB-49EB-8795-6A9944024CCA}"/>
    <dgm:cxn modelId="{B5D59299-801D-4B68-94C0-869A2CEABC50}" type="presOf" srcId="{DFB8B640-CC6D-401D-87B3-028C9444FB53}" destId="{D2F54D84-90F5-4F72-91E2-C692E2BAD9EF}" srcOrd="0" destOrd="1" presId="urn:microsoft.com/office/officeart/2005/8/layout/venn3"/>
    <dgm:cxn modelId="{40F9CDA8-B7CE-4F5D-9A40-70F5D4448A2C}" srcId="{ECB54867-BB0E-4406-8C7A-071AF47B8541}" destId="{79A5E509-63A4-4F34-961D-788EB5EF044E}" srcOrd="0" destOrd="0" parTransId="{70A2E227-C2E1-4848-823C-B0BC3B8D44D4}" sibTransId="{E192B359-109B-4D7F-9B16-3721B7662317}"/>
    <dgm:cxn modelId="{A55C4729-AA45-4E39-BF29-1A82901BFE61}" type="presOf" srcId="{71E18997-5D44-4794-9BC7-1EC6693B35E4}" destId="{D2F54D84-90F5-4F72-91E2-C692E2BAD9EF}" srcOrd="0" destOrd="0" presId="urn:microsoft.com/office/officeart/2005/8/layout/venn3"/>
    <dgm:cxn modelId="{541E0CB7-E73E-41F6-9805-F2F4B6193256}" type="presParOf" srcId="{3DD2AAE6-4059-4CAD-B6A5-CD8908747A6D}" destId="{129C73CA-40DA-4498-828E-92856BB8BCF4}" srcOrd="0" destOrd="0" presId="urn:microsoft.com/office/officeart/2005/8/layout/venn3"/>
    <dgm:cxn modelId="{7D0553CE-8DDE-47D5-9762-3A99C73E9A06}" type="presParOf" srcId="{3DD2AAE6-4059-4CAD-B6A5-CD8908747A6D}" destId="{D9CFB4DE-410C-4DB1-B33C-059DCB3F7746}" srcOrd="1" destOrd="0" presId="urn:microsoft.com/office/officeart/2005/8/layout/venn3"/>
    <dgm:cxn modelId="{FF1BD213-8FD0-4EEE-93FB-7D48EC9F2C5D}" type="presParOf" srcId="{3DD2AAE6-4059-4CAD-B6A5-CD8908747A6D}" destId="{C51B9CA8-53BF-4618-A8BF-1ECF57FCCBC9}" srcOrd="2" destOrd="0" presId="urn:microsoft.com/office/officeart/2005/8/layout/venn3"/>
    <dgm:cxn modelId="{F1E4D936-5EA6-4931-AA6A-CBF5D0CB5FAF}" type="presParOf" srcId="{3DD2AAE6-4059-4CAD-B6A5-CD8908747A6D}" destId="{45B85964-12D8-4BD6-B058-EB54AC0526A3}" srcOrd="3" destOrd="0" presId="urn:microsoft.com/office/officeart/2005/8/layout/venn3"/>
    <dgm:cxn modelId="{3E002950-E561-4941-9A8A-2EABD40F353B}" type="presParOf" srcId="{3DD2AAE6-4059-4CAD-B6A5-CD8908747A6D}" destId="{D2F54D84-90F5-4F72-91E2-C692E2BAD9EF}" srcOrd="4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6A6C4D3-6CA5-4362-BAE7-BB4769057285}" type="doc">
      <dgm:prSet loTypeId="urn:microsoft.com/office/officeart/2005/8/layout/venn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B54867-BB0E-4406-8C7A-071AF47B8541}">
      <dgm:prSet phldrT="[Text]" custT="1"/>
      <dgm:spPr>
        <a:solidFill>
          <a:schemeClr val="bg2">
            <a:lumMod val="75000"/>
            <a:alpha val="50000"/>
          </a:schemeClr>
        </a:solidFill>
      </dgm:spPr>
      <dgm:t>
        <a:bodyPr/>
        <a:lstStyle/>
        <a:p>
          <a:r>
            <a:rPr lang="en-US" sz="2800" b="1" dirty="0"/>
            <a:t>Wave 2</a:t>
          </a:r>
          <a:r>
            <a:rPr lang="en-US" sz="2800" dirty="0"/>
            <a:t>:</a:t>
          </a:r>
        </a:p>
      </dgm:t>
    </dgm:pt>
    <dgm:pt modelId="{D51565F5-BE6D-4BED-A4AD-407092022EDA}" type="parTrans" cxnId="{ECB07396-DAFE-4E62-99A9-BE427BB75107}">
      <dgm:prSet/>
      <dgm:spPr/>
      <dgm:t>
        <a:bodyPr/>
        <a:lstStyle/>
        <a:p>
          <a:endParaRPr lang="en-US"/>
        </a:p>
      </dgm:t>
    </dgm:pt>
    <dgm:pt modelId="{EAE1DF63-B2AB-49EB-8795-6A9944024CCA}" type="sibTrans" cxnId="{ECB07396-DAFE-4E62-99A9-BE427BB75107}">
      <dgm:prSet/>
      <dgm:spPr/>
      <dgm:t>
        <a:bodyPr/>
        <a:lstStyle/>
        <a:p>
          <a:endParaRPr lang="en-US"/>
        </a:p>
      </dgm:t>
    </dgm:pt>
    <dgm:pt modelId="{71E18997-5D44-4794-9BC7-1EC6693B35E4}">
      <dgm:prSet phldrT="[Text]" custT="1"/>
      <dgm:spPr>
        <a:solidFill>
          <a:schemeClr val="accent6">
            <a:lumMod val="75000"/>
            <a:alpha val="50000"/>
          </a:schemeClr>
        </a:solidFill>
      </dgm:spPr>
      <dgm:t>
        <a:bodyPr/>
        <a:lstStyle/>
        <a:p>
          <a:r>
            <a:rPr lang="en-US" sz="3200" b="1" dirty="0"/>
            <a:t>Wave 3</a:t>
          </a:r>
          <a:r>
            <a:rPr lang="en-US" sz="3200" dirty="0"/>
            <a:t>:</a:t>
          </a:r>
        </a:p>
      </dgm:t>
    </dgm:pt>
    <dgm:pt modelId="{528B504C-40EA-467B-AC8F-DE8D32412A63}" type="parTrans" cxnId="{84C6E2A4-BAC7-4803-8C73-0FF5F850CA22}">
      <dgm:prSet/>
      <dgm:spPr/>
      <dgm:t>
        <a:bodyPr/>
        <a:lstStyle/>
        <a:p>
          <a:endParaRPr lang="en-US"/>
        </a:p>
      </dgm:t>
    </dgm:pt>
    <dgm:pt modelId="{57135DA8-4BFE-48D6-B033-74F4F5FB070D}" type="sibTrans" cxnId="{84C6E2A4-BAC7-4803-8C73-0FF5F850CA22}">
      <dgm:prSet/>
      <dgm:spPr/>
      <dgm:t>
        <a:bodyPr/>
        <a:lstStyle/>
        <a:p>
          <a:endParaRPr lang="en-US"/>
        </a:p>
      </dgm:t>
    </dgm:pt>
    <dgm:pt modelId="{AC6A4F21-888E-4DB1-B117-304C1758F87F}">
      <dgm:prSet phldrT="[Text]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en-US" b="1" dirty="0"/>
            <a:t>Wave 1</a:t>
          </a:r>
          <a:r>
            <a:rPr lang="en-US" dirty="0"/>
            <a:t>:</a:t>
          </a:r>
        </a:p>
      </dgm:t>
    </dgm:pt>
    <dgm:pt modelId="{480C33E6-926F-47E9-AA5C-5CB296B3E013}" type="parTrans" cxnId="{CF275C42-E989-456B-8A68-BDA9828AD797}">
      <dgm:prSet/>
      <dgm:spPr/>
      <dgm:t>
        <a:bodyPr/>
        <a:lstStyle/>
        <a:p>
          <a:endParaRPr lang="en-US"/>
        </a:p>
      </dgm:t>
    </dgm:pt>
    <dgm:pt modelId="{C5DC336C-CCB1-4C06-A8AF-22FBD34B4D7C}" type="sibTrans" cxnId="{CF275C42-E989-456B-8A68-BDA9828AD797}">
      <dgm:prSet/>
      <dgm:spPr/>
      <dgm:t>
        <a:bodyPr/>
        <a:lstStyle/>
        <a:p>
          <a:endParaRPr lang="en-US"/>
        </a:p>
      </dgm:t>
    </dgm:pt>
    <dgm:pt modelId="{0CF7E996-35DD-46E1-B6E7-8CED8CE2D318}">
      <dgm:prSet phldrT="[Text]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en-US" dirty="0"/>
            <a:t>844 (Additional staff capacity)</a:t>
          </a:r>
        </a:p>
      </dgm:t>
    </dgm:pt>
    <dgm:pt modelId="{D5917671-203D-486E-B437-A39A9479983C}" type="parTrans" cxnId="{024ED287-DA8A-4485-A1B2-1A2D11A5A48E}">
      <dgm:prSet/>
      <dgm:spPr/>
      <dgm:t>
        <a:bodyPr/>
        <a:lstStyle/>
        <a:p>
          <a:endParaRPr lang="en-US"/>
        </a:p>
      </dgm:t>
    </dgm:pt>
    <dgm:pt modelId="{60063227-CA2E-4FD5-A57C-6AA308A53915}" type="sibTrans" cxnId="{024ED287-DA8A-4485-A1B2-1A2D11A5A48E}">
      <dgm:prSet/>
      <dgm:spPr/>
      <dgm:t>
        <a:bodyPr/>
        <a:lstStyle/>
        <a:p>
          <a:endParaRPr lang="en-US"/>
        </a:p>
      </dgm:t>
    </dgm:pt>
    <dgm:pt modelId="{79A5E509-63A4-4F34-961D-788EB5EF044E}">
      <dgm:prSet phldrT="[Text]" custT="1"/>
      <dgm:spPr>
        <a:solidFill>
          <a:schemeClr val="bg2">
            <a:lumMod val="75000"/>
            <a:alpha val="50000"/>
          </a:schemeClr>
        </a:solidFill>
      </dgm:spPr>
      <dgm:t>
        <a:bodyPr/>
        <a:lstStyle/>
        <a:p>
          <a:r>
            <a:rPr lang="en-US" sz="2400" dirty="0"/>
            <a:t>1117  (Additional staff capacity)</a:t>
          </a:r>
        </a:p>
      </dgm:t>
    </dgm:pt>
    <dgm:pt modelId="{70A2E227-C2E1-4848-823C-B0BC3B8D44D4}" type="parTrans" cxnId="{40F9CDA8-B7CE-4F5D-9A40-70F5D4448A2C}">
      <dgm:prSet/>
      <dgm:spPr/>
      <dgm:t>
        <a:bodyPr/>
        <a:lstStyle/>
        <a:p>
          <a:endParaRPr lang="en-US"/>
        </a:p>
      </dgm:t>
    </dgm:pt>
    <dgm:pt modelId="{E192B359-109B-4D7F-9B16-3721B7662317}" type="sibTrans" cxnId="{40F9CDA8-B7CE-4F5D-9A40-70F5D4448A2C}">
      <dgm:prSet/>
      <dgm:spPr/>
      <dgm:t>
        <a:bodyPr/>
        <a:lstStyle/>
        <a:p>
          <a:endParaRPr lang="en-US"/>
        </a:p>
      </dgm:t>
    </dgm:pt>
    <dgm:pt modelId="{DFB8B640-CC6D-401D-87B3-028C9444FB53}">
      <dgm:prSet phldrT="[Text]" custT="1"/>
      <dgm:spPr>
        <a:solidFill>
          <a:schemeClr val="accent6">
            <a:lumMod val="75000"/>
            <a:alpha val="50000"/>
          </a:schemeClr>
        </a:solidFill>
      </dgm:spPr>
      <dgm:t>
        <a:bodyPr/>
        <a:lstStyle/>
        <a:p>
          <a:r>
            <a:rPr lang="en-US" sz="2400" dirty="0"/>
            <a:t>Wave 2 capacity retained</a:t>
          </a:r>
        </a:p>
      </dgm:t>
    </dgm:pt>
    <dgm:pt modelId="{B7223721-0296-4FC4-866E-7DCA1845D82D}" type="parTrans" cxnId="{BB64D74E-9210-421C-AC9B-BE9FE5145AF9}">
      <dgm:prSet/>
      <dgm:spPr/>
      <dgm:t>
        <a:bodyPr/>
        <a:lstStyle/>
        <a:p>
          <a:endParaRPr lang="en-US"/>
        </a:p>
      </dgm:t>
    </dgm:pt>
    <dgm:pt modelId="{BEFF9FA2-E47E-4706-8C64-DDBA1BFE5D21}" type="sibTrans" cxnId="{BB64D74E-9210-421C-AC9B-BE9FE5145AF9}">
      <dgm:prSet/>
      <dgm:spPr/>
      <dgm:t>
        <a:bodyPr/>
        <a:lstStyle/>
        <a:p>
          <a:endParaRPr lang="en-US"/>
        </a:p>
      </dgm:t>
    </dgm:pt>
    <dgm:pt modelId="{DB0EA4B2-FE8F-0D42-AF66-F60B95E522C2}">
      <dgm:prSet phldrT="[Text]" custT="1"/>
      <dgm:spPr>
        <a:solidFill>
          <a:schemeClr val="accent6">
            <a:lumMod val="75000"/>
            <a:alpha val="50000"/>
          </a:schemeClr>
        </a:solidFill>
      </dgm:spPr>
      <dgm:t>
        <a:bodyPr/>
        <a:lstStyle/>
        <a:p>
          <a:r>
            <a:rPr lang="en-US" sz="2400" dirty="0"/>
            <a:t>775 added, with 765 still  available for appointment if required) </a:t>
          </a:r>
        </a:p>
      </dgm:t>
    </dgm:pt>
    <dgm:pt modelId="{4BF25CDC-A88B-1348-A969-E690C4E621F2}" type="parTrans" cxnId="{BC04C858-C022-2844-A120-907677F7E81D}">
      <dgm:prSet/>
      <dgm:spPr/>
    </dgm:pt>
    <dgm:pt modelId="{00235218-2ABD-2949-8C13-D4F9400FC008}" type="sibTrans" cxnId="{BC04C858-C022-2844-A120-907677F7E81D}">
      <dgm:prSet/>
      <dgm:spPr/>
    </dgm:pt>
    <dgm:pt modelId="{3DD2AAE6-4059-4CAD-B6A5-CD8908747A6D}" type="pres">
      <dgm:prSet presAssocID="{56A6C4D3-6CA5-4362-BAE7-BB476905728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129C73CA-40DA-4498-828E-92856BB8BCF4}" type="pres">
      <dgm:prSet presAssocID="{AC6A4F21-888E-4DB1-B117-304C1758F87F}" presName="Name5" presStyleLbl="vennNode1" presStyleIdx="0" presStyleCnt="3" custScaleX="67917" custScaleY="6478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D9CFB4DE-410C-4DB1-B33C-059DCB3F7746}" type="pres">
      <dgm:prSet presAssocID="{C5DC336C-CCB1-4C06-A8AF-22FBD34B4D7C}" presName="space" presStyleCnt="0"/>
      <dgm:spPr/>
    </dgm:pt>
    <dgm:pt modelId="{C51B9CA8-53BF-4618-A8BF-1ECF57FCCBC9}" type="pres">
      <dgm:prSet presAssocID="{ECB54867-BB0E-4406-8C7A-071AF47B8541}" presName="Name5" presStyleLbl="vennNode1" presStyleIdx="1" presStyleCnt="3" custScaleX="86853" custScaleY="8787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5B85964-12D8-4BD6-B058-EB54AC0526A3}" type="pres">
      <dgm:prSet presAssocID="{EAE1DF63-B2AB-49EB-8795-6A9944024CCA}" presName="space" presStyleCnt="0"/>
      <dgm:spPr/>
    </dgm:pt>
    <dgm:pt modelId="{D2F54D84-90F5-4F72-91E2-C692E2BAD9EF}" type="pres">
      <dgm:prSet presAssocID="{71E18997-5D44-4794-9BC7-1EC6693B35E4}" presName="Name5" presStyleLbl="venn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84C6E2A4-BAC7-4803-8C73-0FF5F850CA22}" srcId="{56A6C4D3-6CA5-4362-BAE7-BB4769057285}" destId="{71E18997-5D44-4794-9BC7-1EC6693B35E4}" srcOrd="2" destOrd="0" parTransId="{528B504C-40EA-467B-AC8F-DE8D32412A63}" sibTransId="{57135DA8-4BFE-48D6-B033-74F4F5FB070D}"/>
    <dgm:cxn modelId="{BB64D74E-9210-421C-AC9B-BE9FE5145AF9}" srcId="{71E18997-5D44-4794-9BC7-1EC6693B35E4}" destId="{DFB8B640-CC6D-401D-87B3-028C9444FB53}" srcOrd="0" destOrd="0" parTransId="{B7223721-0296-4FC4-866E-7DCA1845D82D}" sibTransId="{BEFF9FA2-E47E-4706-8C64-DDBA1BFE5D21}"/>
    <dgm:cxn modelId="{CF275C42-E989-456B-8A68-BDA9828AD797}" srcId="{56A6C4D3-6CA5-4362-BAE7-BB4769057285}" destId="{AC6A4F21-888E-4DB1-B117-304C1758F87F}" srcOrd="0" destOrd="0" parTransId="{480C33E6-926F-47E9-AA5C-5CB296B3E013}" sibTransId="{C5DC336C-CCB1-4C06-A8AF-22FBD34B4D7C}"/>
    <dgm:cxn modelId="{024ED287-DA8A-4485-A1B2-1A2D11A5A48E}" srcId="{AC6A4F21-888E-4DB1-B117-304C1758F87F}" destId="{0CF7E996-35DD-46E1-B6E7-8CED8CE2D318}" srcOrd="0" destOrd="0" parTransId="{D5917671-203D-486E-B437-A39A9479983C}" sibTransId="{60063227-CA2E-4FD5-A57C-6AA308A53915}"/>
    <dgm:cxn modelId="{BC04C858-C022-2844-A120-907677F7E81D}" srcId="{71E18997-5D44-4794-9BC7-1EC6693B35E4}" destId="{DB0EA4B2-FE8F-0D42-AF66-F60B95E522C2}" srcOrd="1" destOrd="0" parTransId="{4BF25CDC-A88B-1348-A969-E690C4E621F2}" sibTransId="{00235218-2ABD-2949-8C13-D4F9400FC008}"/>
    <dgm:cxn modelId="{76403347-D69F-4DF3-BF96-93EF8BAA526A}" type="presOf" srcId="{0CF7E996-35DD-46E1-B6E7-8CED8CE2D318}" destId="{129C73CA-40DA-4498-828E-92856BB8BCF4}" srcOrd="0" destOrd="1" presId="urn:microsoft.com/office/officeart/2005/8/layout/venn3"/>
    <dgm:cxn modelId="{60503A56-60DD-44E3-8794-355BB3E2B5DE}" type="presOf" srcId="{56A6C4D3-6CA5-4362-BAE7-BB4769057285}" destId="{3DD2AAE6-4059-4CAD-B6A5-CD8908747A6D}" srcOrd="0" destOrd="0" presId="urn:microsoft.com/office/officeart/2005/8/layout/venn3"/>
    <dgm:cxn modelId="{CC65CD6A-D113-FC4D-8B9C-F8A06A906D15}" type="presOf" srcId="{DB0EA4B2-FE8F-0D42-AF66-F60B95E522C2}" destId="{D2F54D84-90F5-4F72-91E2-C692E2BAD9EF}" srcOrd="0" destOrd="2" presId="urn:microsoft.com/office/officeart/2005/8/layout/venn3"/>
    <dgm:cxn modelId="{CA62D90D-B914-4E6C-8E75-4D1A76E99986}" type="presOf" srcId="{79A5E509-63A4-4F34-961D-788EB5EF044E}" destId="{C51B9CA8-53BF-4618-A8BF-1ECF57FCCBC9}" srcOrd="0" destOrd="1" presId="urn:microsoft.com/office/officeart/2005/8/layout/venn3"/>
    <dgm:cxn modelId="{2AE37F27-006B-4234-B1C9-E69E079F245D}" type="presOf" srcId="{AC6A4F21-888E-4DB1-B117-304C1758F87F}" destId="{129C73CA-40DA-4498-828E-92856BB8BCF4}" srcOrd="0" destOrd="0" presId="urn:microsoft.com/office/officeart/2005/8/layout/venn3"/>
    <dgm:cxn modelId="{A27B7DF8-33AD-4418-9B52-9F80438DE935}" type="presOf" srcId="{ECB54867-BB0E-4406-8C7A-071AF47B8541}" destId="{C51B9CA8-53BF-4618-A8BF-1ECF57FCCBC9}" srcOrd="0" destOrd="0" presId="urn:microsoft.com/office/officeart/2005/8/layout/venn3"/>
    <dgm:cxn modelId="{ECB07396-DAFE-4E62-99A9-BE427BB75107}" srcId="{56A6C4D3-6CA5-4362-BAE7-BB4769057285}" destId="{ECB54867-BB0E-4406-8C7A-071AF47B8541}" srcOrd="1" destOrd="0" parTransId="{D51565F5-BE6D-4BED-A4AD-407092022EDA}" sibTransId="{EAE1DF63-B2AB-49EB-8795-6A9944024CCA}"/>
    <dgm:cxn modelId="{B5D59299-801D-4B68-94C0-869A2CEABC50}" type="presOf" srcId="{DFB8B640-CC6D-401D-87B3-028C9444FB53}" destId="{D2F54D84-90F5-4F72-91E2-C692E2BAD9EF}" srcOrd="0" destOrd="1" presId="urn:microsoft.com/office/officeart/2005/8/layout/venn3"/>
    <dgm:cxn modelId="{40F9CDA8-B7CE-4F5D-9A40-70F5D4448A2C}" srcId="{ECB54867-BB0E-4406-8C7A-071AF47B8541}" destId="{79A5E509-63A4-4F34-961D-788EB5EF044E}" srcOrd="0" destOrd="0" parTransId="{70A2E227-C2E1-4848-823C-B0BC3B8D44D4}" sibTransId="{E192B359-109B-4D7F-9B16-3721B7662317}"/>
    <dgm:cxn modelId="{A55C4729-AA45-4E39-BF29-1A82901BFE61}" type="presOf" srcId="{71E18997-5D44-4794-9BC7-1EC6693B35E4}" destId="{D2F54D84-90F5-4F72-91E2-C692E2BAD9EF}" srcOrd="0" destOrd="0" presId="urn:microsoft.com/office/officeart/2005/8/layout/venn3"/>
    <dgm:cxn modelId="{541E0CB7-E73E-41F6-9805-F2F4B6193256}" type="presParOf" srcId="{3DD2AAE6-4059-4CAD-B6A5-CD8908747A6D}" destId="{129C73CA-40DA-4498-828E-92856BB8BCF4}" srcOrd="0" destOrd="0" presId="urn:microsoft.com/office/officeart/2005/8/layout/venn3"/>
    <dgm:cxn modelId="{7D0553CE-8DDE-47D5-9762-3A99C73E9A06}" type="presParOf" srcId="{3DD2AAE6-4059-4CAD-B6A5-CD8908747A6D}" destId="{D9CFB4DE-410C-4DB1-B33C-059DCB3F7746}" srcOrd="1" destOrd="0" presId="urn:microsoft.com/office/officeart/2005/8/layout/venn3"/>
    <dgm:cxn modelId="{FF1BD213-8FD0-4EEE-93FB-7D48EC9F2C5D}" type="presParOf" srcId="{3DD2AAE6-4059-4CAD-B6A5-CD8908747A6D}" destId="{C51B9CA8-53BF-4618-A8BF-1ECF57FCCBC9}" srcOrd="2" destOrd="0" presId="urn:microsoft.com/office/officeart/2005/8/layout/venn3"/>
    <dgm:cxn modelId="{F1E4D936-5EA6-4931-AA6A-CBF5D0CB5FAF}" type="presParOf" srcId="{3DD2AAE6-4059-4CAD-B6A5-CD8908747A6D}" destId="{45B85964-12D8-4BD6-B058-EB54AC0526A3}" srcOrd="3" destOrd="0" presId="urn:microsoft.com/office/officeart/2005/8/layout/venn3"/>
    <dgm:cxn modelId="{3E002950-E561-4941-9A8A-2EABD40F353B}" type="presParOf" srcId="{3DD2AAE6-4059-4CAD-B6A5-CD8908747A6D}" destId="{D2F54D84-90F5-4F72-91E2-C692E2BAD9EF}" srcOrd="4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AD9171F-48BF-4F61-B54F-D61AC835F989}" type="doc">
      <dgm:prSet loTypeId="urn:microsoft.com/office/officeart/2005/8/layout/hChevron3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1042A5B3-050F-468B-8D72-010CE33F6A19}">
      <dgm:prSet phldrT="[Text]"/>
      <dgm:spPr/>
      <dgm:t>
        <a:bodyPr/>
        <a:lstStyle/>
        <a:p>
          <a:r>
            <a:rPr lang="en-US" b="1" dirty="0"/>
            <a:t>Phase I</a:t>
          </a:r>
        </a:p>
      </dgm:t>
    </dgm:pt>
    <dgm:pt modelId="{39CD347C-3CE5-4391-84C5-E4B0F7D5FF90}" type="parTrans" cxnId="{C8ADC553-BE08-4CAF-ABD4-59AB7F83B06C}">
      <dgm:prSet/>
      <dgm:spPr/>
      <dgm:t>
        <a:bodyPr/>
        <a:lstStyle/>
        <a:p>
          <a:endParaRPr lang="en-US"/>
        </a:p>
      </dgm:t>
    </dgm:pt>
    <dgm:pt modelId="{DDC4F37D-3CDF-4B54-91F8-234AB3C5B720}" type="sibTrans" cxnId="{C8ADC553-BE08-4CAF-ABD4-59AB7F83B06C}">
      <dgm:prSet/>
      <dgm:spPr/>
      <dgm:t>
        <a:bodyPr/>
        <a:lstStyle/>
        <a:p>
          <a:endParaRPr lang="en-US"/>
        </a:p>
      </dgm:t>
    </dgm:pt>
    <dgm:pt modelId="{7CF72C71-5875-42BE-9836-650664FE561F}">
      <dgm:prSet phldrT="[Text]"/>
      <dgm:spPr/>
      <dgm:t>
        <a:bodyPr/>
        <a:lstStyle/>
        <a:p>
          <a:r>
            <a:rPr lang="en-GB" b="1" dirty="0"/>
            <a:t>Health Care Workers :</a:t>
          </a:r>
          <a:endParaRPr lang="en-US" dirty="0"/>
        </a:p>
      </dgm:t>
    </dgm:pt>
    <dgm:pt modelId="{D7D0BC0E-0015-461E-B427-998AD13C7495}" type="parTrans" cxnId="{F50C29FE-072E-4C6F-A5AD-5569BBA38209}">
      <dgm:prSet/>
      <dgm:spPr/>
      <dgm:t>
        <a:bodyPr/>
        <a:lstStyle/>
        <a:p>
          <a:endParaRPr lang="en-US"/>
        </a:p>
      </dgm:t>
    </dgm:pt>
    <dgm:pt modelId="{2DCD8263-A7BB-46D9-93A6-500B46DE013C}" type="sibTrans" cxnId="{F50C29FE-072E-4C6F-A5AD-5569BBA38209}">
      <dgm:prSet/>
      <dgm:spPr/>
      <dgm:t>
        <a:bodyPr/>
        <a:lstStyle/>
        <a:p>
          <a:endParaRPr lang="en-US"/>
        </a:p>
      </dgm:t>
    </dgm:pt>
    <dgm:pt modelId="{92BFFA1A-4CE7-40E4-945B-741BC933D006}">
      <dgm:prSet/>
      <dgm:spPr/>
      <dgm:t>
        <a:bodyPr/>
        <a:lstStyle/>
        <a:p>
          <a:r>
            <a:rPr lang="en-GB" dirty="0"/>
            <a:t>Care Workers</a:t>
          </a:r>
        </a:p>
      </dgm:t>
    </dgm:pt>
    <dgm:pt modelId="{5C1143C0-7B71-4A75-B1A1-B60E8E47463C}" type="parTrans" cxnId="{EB83350E-AD7E-44D9-8E1D-F83738283EA5}">
      <dgm:prSet/>
      <dgm:spPr/>
      <dgm:t>
        <a:bodyPr/>
        <a:lstStyle/>
        <a:p>
          <a:endParaRPr lang="en-US"/>
        </a:p>
      </dgm:t>
    </dgm:pt>
    <dgm:pt modelId="{09B40DC3-2600-4CCA-928C-C91717A90DDE}" type="sibTrans" cxnId="{EB83350E-AD7E-44D9-8E1D-F83738283EA5}">
      <dgm:prSet/>
      <dgm:spPr/>
      <dgm:t>
        <a:bodyPr/>
        <a:lstStyle/>
        <a:p>
          <a:endParaRPr lang="en-US"/>
        </a:p>
      </dgm:t>
    </dgm:pt>
    <dgm:pt modelId="{B37BD7CA-9B74-4FF7-A6BC-BFAC59FD881F}">
      <dgm:prSet/>
      <dgm:spPr/>
      <dgm:t>
        <a:bodyPr/>
        <a:lstStyle/>
        <a:p>
          <a:r>
            <a:rPr lang="en-GB" dirty="0"/>
            <a:t>CHWs</a:t>
          </a:r>
        </a:p>
      </dgm:t>
    </dgm:pt>
    <dgm:pt modelId="{5EDB3B95-E94C-416A-BE30-B9A6CCA77115}" type="parTrans" cxnId="{AF18D314-8F48-4326-859D-27C3CE39E12C}">
      <dgm:prSet/>
      <dgm:spPr/>
      <dgm:t>
        <a:bodyPr/>
        <a:lstStyle/>
        <a:p>
          <a:endParaRPr lang="en-US"/>
        </a:p>
      </dgm:t>
    </dgm:pt>
    <dgm:pt modelId="{1F493C56-A292-46BB-BF04-A5AAA860B186}" type="sibTrans" cxnId="{AF18D314-8F48-4326-859D-27C3CE39E12C}">
      <dgm:prSet/>
      <dgm:spPr/>
      <dgm:t>
        <a:bodyPr/>
        <a:lstStyle/>
        <a:p>
          <a:endParaRPr lang="en-US"/>
        </a:p>
      </dgm:t>
    </dgm:pt>
    <dgm:pt modelId="{FC50C516-1D7E-4BDD-8B86-50D009A20C37}">
      <dgm:prSet/>
      <dgm:spPr/>
      <dgm:t>
        <a:bodyPr/>
        <a:lstStyle/>
        <a:p>
          <a:r>
            <a:rPr lang="en-GB" dirty="0"/>
            <a:t>Health Science students</a:t>
          </a:r>
        </a:p>
      </dgm:t>
    </dgm:pt>
    <dgm:pt modelId="{F1A2896B-F689-4E3F-8603-F8AAC434C709}" type="parTrans" cxnId="{BBF5A401-27A3-49F5-BBA9-C4C7E90BE080}">
      <dgm:prSet/>
      <dgm:spPr/>
      <dgm:t>
        <a:bodyPr/>
        <a:lstStyle/>
        <a:p>
          <a:endParaRPr lang="en-US"/>
        </a:p>
      </dgm:t>
    </dgm:pt>
    <dgm:pt modelId="{5C722018-E37F-43B2-AC51-85B5F02AF3A3}" type="sibTrans" cxnId="{BBF5A401-27A3-49F5-BBA9-C4C7E90BE080}">
      <dgm:prSet/>
      <dgm:spPr/>
      <dgm:t>
        <a:bodyPr/>
        <a:lstStyle/>
        <a:p>
          <a:endParaRPr lang="en-US"/>
        </a:p>
      </dgm:t>
    </dgm:pt>
    <dgm:pt modelId="{854AB0CC-CC75-4E56-9232-32E8A2CBB161}">
      <dgm:prSet/>
      <dgm:spPr/>
      <dgm:t>
        <a:bodyPr/>
        <a:lstStyle/>
        <a:p>
          <a:r>
            <a:rPr lang="en-GB" b="1">
              <a:solidFill>
                <a:schemeClr val="tx1"/>
              </a:solidFill>
            </a:rPr>
            <a:t>Estimated target:</a:t>
          </a:r>
          <a:endParaRPr lang="en-GB" dirty="0"/>
        </a:p>
      </dgm:t>
    </dgm:pt>
    <dgm:pt modelId="{2A9F03D8-0617-44CA-863B-0093CD3FC703}" type="parTrans" cxnId="{11E3C683-3BEA-42BA-8E39-4E564CDF735F}">
      <dgm:prSet/>
      <dgm:spPr/>
      <dgm:t>
        <a:bodyPr/>
        <a:lstStyle/>
        <a:p>
          <a:endParaRPr lang="en-US"/>
        </a:p>
      </dgm:t>
    </dgm:pt>
    <dgm:pt modelId="{80EDB310-DBC6-4029-8999-47CE3A5743CE}" type="sibTrans" cxnId="{11E3C683-3BEA-42BA-8E39-4E564CDF735F}">
      <dgm:prSet/>
      <dgm:spPr/>
      <dgm:t>
        <a:bodyPr/>
        <a:lstStyle/>
        <a:p>
          <a:endParaRPr lang="en-US"/>
        </a:p>
      </dgm:t>
    </dgm:pt>
    <dgm:pt modelId="{A0894EB5-D21C-43E0-8DDB-60DC901B7365}">
      <dgm:prSet/>
      <dgm:spPr/>
      <dgm:t>
        <a:bodyPr/>
        <a:lstStyle/>
        <a:p>
          <a:r>
            <a:rPr lang="en-GB" dirty="0"/>
            <a:t>Public &amp; Private Health Sectors</a:t>
          </a:r>
        </a:p>
      </dgm:t>
    </dgm:pt>
    <dgm:pt modelId="{F6738176-BFFD-4A37-A8B7-F640DA642ACA}" type="parTrans" cxnId="{BEE6E80F-2202-4FCD-93BF-D41A94B9BF21}">
      <dgm:prSet/>
      <dgm:spPr/>
      <dgm:t>
        <a:bodyPr/>
        <a:lstStyle/>
        <a:p>
          <a:endParaRPr lang="en-US"/>
        </a:p>
      </dgm:t>
    </dgm:pt>
    <dgm:pt modelId="{C8D49290-724F-428A-86F8-A4EA27C2CE4C}" type="sibTrans" cxnId="{BEE6E80F-2202-4FCD-93BF-D41A94B9BF21}">
      <dgm:prSet/>
      <dgm:spPr/>
      <dgm:t>
        <a:bodyPr/>
        <a:lstStyle/>
        <a:p>
          <a:endParaRPr lang="en-US"/>
        </a:p>
      </dgm:t>
    </dgm:pt>
    <dgm:pt modelId="{548245D7-C204-4D65-A822-030CDC6166FD}">
      <dgm:prSet/>
      <dgm:spPr/>
      <dgm:t>
        <a:bodyPr/>
        <a:lstStyle/>
        <a:p>
          <a:r>
            <a:rPr lang="en-GB" b="1">
              <a:solidFill>
                <a:schemeClr val="tx1"/>
              </a:solidFill>
            </a:rPr>
            <a:t> 132 000</a:t>
          </a:r>
          <a:endParaRPr lang="en-GB" dirty="0"/>
        </a:p>
      </dgm:t>
    </dgm:pt>
    <dgm:pt modelId="{EB309A0F-59C3-4C5B-975B-643681C91D87}" type="parTrans" cxnId="{1FE17E93-8022-4361-844E-4AF474A2685B}">
      <dgm:prSet/>
      <dgm:spPr/>
      <dgm:t>
        <a:bodyPr/>
        <a:lstStyle/>
        <a:p>
          <a:endParaRPr lang="en-US"/>
        </a:p>
      </dgm:t>
    </dgm:pt>
    <dgm:pt modelId="{9F04AB99-9158-4B26-8EB5-15A09B955C85}" type="sibTrans" cxnId="{1FE17E93-8022-4361-844E-4AF474A2685B}">
      <dgm:prSet/>
      <dgm:spPr/>
      <dgm:t>
        <a:bodyPr/>
        <a:lstStyle/>
        <a:p>
          <a:endParaRPr lang="en-US"/>
        </a:p>
      </dgm:t>
    </dgm:pt>
    <dgm:pt modelId="{1C11958F-2795-467C-BA6E-7804062752E9}">
      <dgm:prSet/>
      <dgm:spPr/>
      <dgm:t>
        <a:bodyPr/>
        <a:lstStyle/>
        <a:p>
          <a:endParaRPr lang="en-GB" dirty="0"/>
        </a:p>
      </dgm:t>
    </dgm:pt>
    <dgm:pt modelId="{304B5778-D3D6-4EF7-B84F-C5F618854CCF}" type="parTrans" cxnId="{25FD3513-1682-4DA1-99C6-073FF93472F0}">
      <dgm:prSet/>
      <dgm:spPr/>
      <dgm:t>
        <a:bodyPr/>
        <a:lstStyle/>
        <a:p>
          <a:endParaRPr lang="en-US"/>
        </a:p>
      </dgm:t>
    </dgm:pt>
    <dgm:pt modelId="{3E3D35C7-C3E3-47A0-A549-B62EAFEA03CD}" type="sibTrans" cxnId="{25FD3513-1682-4DA1-99C6-073FF93472F0}">
      <dgm:prSet/>
      <dgm:spPr/>
      <dgm:t>
        <a:bodyPr/>
        <a:lstStyle/>
        <a:p>
          <a:endParaRPr lang="en-US"/>
        </a:p>
      </dgm:t>
    </dgm:pt>
    <dgm:pt modelId="{5D21EF67-7885-4C53-8EFD-774505CC083D}">
      <dgm:prSet/>
      <dgm:spPr/>
      <dgm:t>
        <a:bodyPr/>
        <a:lstStyle/>
        <a:p>
          <a:r>
            <a:rPr lang="en-GB" dirty="0"/>
            <a:t>Traditional Healers</a:t>
          </a:r>
        </a:p>
      </dgm:t>
    </dgm:pt>
    <dgm:pt modelId="{3EB0C153-8DC7-4E3B-92BD-9D19D2A09CB6}" type="parTrans" cxnId="{08DBAC4A-3EDB-42BB-97E9-8828E23883FE}">
      <dgm:prSet/>
      <dgm:spPr/>
      <dgm:t>
        <a:bodyPr/>
        <a:lstStyle/>
        <a:p>
          <a:endParaRPr lang="en-GB"/>
        </a:p>
      </dgm:t>
    </dgm:pt>
    <dgm:pt modelId="{787FDE3F-27EC-4011-ADF2-4AE29E50DC62}" type="sibTrans" cxnId="{08DBAC4A-3EDB-42BB-97E9-8828E23883FE}">
      <dgm:prSet/>
      <dgm:spPr/>
      <dgm:t>
        <a:bodyPr/>
        <a:lstStyle/>
        <a:p>
          <a:endParaRPr lang="en-GB"/>
        </a:p>
      </dgm:t>
    </dgm:pt>
    <dgm:pt modelId="{61E684A9-D6C1-4DC0-8CB6-F574763AE61E}" type="pres">
      <dgm:prSet presAssocID="{4AD9171F-48BF-4F61-B54F-D61AC835F98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D0F573CA-CD81-4C67-BEFB-89245C9AAE9C}" type="pres">
      <dgm:prSet presAssocID="{1042A5B3-050F-468B-8D72-010CE33F6A19}" presName="parAndChTx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2FC8A1DC-F744-40CE-A8F2-D3D0E3C2654F}" type="presOf" srcId="{548245D7-C204-4D65-A822-030CDC6166FD}" destId="{D0F573CA-CD81-4C67-BEFB-89245C9AAE9C}" srcOrd="0" destOrd="9" presId="urn:microsoft.com/office/officeart/2005/8/layout/hChevron3"/>
    <dgm:cxn modelId="{15F13A24-0350-429F-9B5A-5D7506AE9532}" type="presOf" srcId="{B37BD7CA-9B74-4FF7-A6BC-BFAC59FD881F}" destId="{D0F573CA-CD81-4C67-BEFB-89245C9AAE9C}" srcOrd="0" destOrd="4" presId="urn:microsoft.com/office/officeart/2005/8/layout/hChevron3"/>
    <dgm:cxn modelId="{25FD3513-1682-4DA1-99C6-073FF93472F0}" srcId="{7CF72C71-5875-42BE-9836-650664FE561F}" destId="{1C11958F-2795-467C-BA6E-7804062752E9}" srcOrd="5" destOrd="0" parTransId="{304B5778-D3D6-4EF7-B84F-C5F618854CCF}" sibTransId="{3E3D35C7-C3E3-47A0-A549-B62EAFEA03CD}"/>
    <dgm:cxn modelId="{AF18D314-8F48-4326-859D-27C3CE39E12C}" srcId="{7CF72C71-5875-42BE-9836-650664FE561F}" destId="{B37BD7CA-9B74-4FF7-A6BC-BFAC59FD881F}" srcOrd="2" destOrd="0" parTransId="{5EDB3B95-E94C-416A-BE30-B9A6CCA77115}" sibTransId="{1F493C56-A292-46BB-BF04-A5AAA860B186}"/>
    <dgm:cxn modelId="{1FE17E93-8022-4361-844E-4AF474A2685B}" srcId="{854AB0CC-CC75-4E56-9232-32E8A2CBB161}" destId="{548245D7-C204-4D65-A822-030CDC6166FD}" srcOrd="0" destOrd="0" parTransId="{EB309A0F-59C3-4C5B-975B-643681C91D87}" sibTransId="{9F04AB99-9158-4B26-8EB5-15A09B955C85}"/>
    <dgm:cxn modelId="{11E3C683-3BEA-42BA-8E39-4E564CDF735F}" srcId="{1042A5B3-050F-468B-8D72-010CE33F6A19}" destId="{854AB0CC-CC75-4E56-9232-32E8A2CBB161}" srcOrd="1" destOrd="0" parTransId="{2A9F03D8-0617-44CA-863B-0093CD3FC703}" sibTransId="{80EDB310-DBC6-4029-8999-47CE3A5743CE}"/>
    <dgm:cxn modelId="{24847A23-AF46-4A85-8676-C054DCA99F35}" type="presOf" srcId="{5D21EF67-7885-4C53-8EFD-774505CC083D}" destId="{D0F573CA-CD81-4C67-BEFB-89245C9AAE9C}" srcOrd="0" destOrd="6" presId="urn:microsoft.com/office/officeart/2005/8/layout/hChevron3"/>
    <dgm:cxn modelId="{B92AE24D-4CC3-4C96-B51A-4C7291F5456F}" type="presOf" srcId="{FC50C516-1D7E-4BDD-8B86-50D009A20C37}" destId="{D0F573CA-CD81-4C67-BEFB-89245C9AAE9C}" srcOrd="0" destOrd="5" presId="urn:microsoft.com/office/officeart/2005/8/layout/hChevron3"/>
    <dgm:cxn modelId="{EB83350E-AD7E-44D9-8E1D-F83738283EA5}" srcId="{7CF72C71-5875-42BE-9836-650664FE561F}" destId="{92BFFA1A-4CE7-40E4-945B-741BC933D006}" srcOrd="1" destOrd="0" parTransId="{5C1143C0-7B71-4A75-B1A1-B60E8E47463C}" sibTransId="{09B40DC3-2600-4CCA-928C-C91717A90DDE}"/>
    <dgm:cxn modelId="{B991C8F5-7A68-4004-BD7D-08B782C3F6AC}" type="presOf" srcId="{1C11958F-2795-467C-BA6E-7804062752E9}" destId="{D0F573CA-CD81-4C67-BEFB-89245C9AAE9C}" srcOrd="0" destOrd="7" presId="urn:microsoft.com/office/officeart/2005/8/layout/hChevron3"/>
    <dgm:cxn modelId="{732A1E91-E69B-4BD3-87EF-796F45C25626}" type="presOf" srcId="{4AD9171F-48BF-4F61-B54F-D61AC835F989}" destId="{61E684A9-D6C1-4DC0-8CB6-F574763AE61E}" srcOrd="0" destOrd="0" presId="urn:microsoft.com/office/officeart/2005/8/layout/hChevron3"/>
    <dgm:cxn modelId="{30232F22-554D-4309-AAAD-C67164030E30}" type="presOf" srcId="{1042A5B3-050F-468B-8D72-010CE33F6A19}" destId="{D0F573CA-CD81-4C67-BEFB-89245C9AAE9C}" srcOrd="0" destOrd="0" presId="urn:microsoft.com/office/officeart/2005/8/layout/hChevron3"/>
    <dgm:cxn modelId="{F50C29FE-072E-4C6F-A5AD-5569BBA38209}" srcId="{1042A5B3-050F-468B-8D72-010CE33F6A19}" destId="{7CF72C71-5875-42BE-9836-650664FE561F}" srcOrd="0" destOrd="0" parTransId="{D7D0BC0E-0015-461E-B427-998AD13C7495}" sibTransId="{2DCD8263-A7BB-46D9-93A6-500B46DE013C}"/>
    <dgm:cxn modelId="{08DBAC4A-3EDB-42BB-97E9-8828E23883FE}" srcId="{7CF72C71-5875-42BE-9836-650664FE561F}" destId="{5D21EF67-7885-4C53-8EFD-774505CC083D}" srcOrd="4" destOrd="0" parTransId="{3EB0C153-8DC7-4E3B-92BD-9D19D2A09CB6}" sibTransId="{787FDE3F-27EC-4011-ADF2-4AE29E50DC62}"/>
    <dgm:cxn modelId="{3440B951-38DB-43BD-A847-7A8D065FBD76}" type="presOf" srcId="{7CF72C71-5875-42BE-9836-650664FE561F}" destId="{D0F573CA-CD81-4C67-BEFB-89245C9AAE9C}" srcOrd="0" destOrd="1" presId="urn:microsoft.com/office/officeart/2005/8/layout/hChevron3"/>
    <dgm:cxn modelId="{9BE30353-A87A-4704-9A97-3CE03E58E598}" type="presOf" srcId="{854AB0CC-CC75-4E56-9232-32E8A2CBB161}" destId="{D0F573CA-CD81-4C67-BEFB-89245C9AAE9C}" srcOrd="0" destOrd="8" presId="urn:microsoft.com/office/officeart/2005/8/layout/hChevron3"/>
    <dgm:cxn modelId="{C8ADC553-BE08-4CAF-ABD4-59AB7F83B06C}" srcId="{4AD9171F-48BF-4F61-B54F-D61AC835F989}" destId="{1042A5B3-050F-468B-8D72-010CE33F6A19}" srcOrd="0" destOrd="0" parTransId="{39CD347C-3CE5-4391-84C5-E4B0F7D5FF90}" sibTransId="{DDC4F37D-3CDF-4B54-91F8-234AB3C5B720}"/>
    <dgm:cxn modelId="{BBF5A401-27A3-49F5-BBA9-C4C7E90BE080}" srcId="{7CF72C71-5875-42BE-9836-650664FE561F}" destId="{FC50C516-1D7E-4BDD-8B86-50D009A20C37}" srcOrd="3" destOrd="0" parTransId="{F1A2896B-F689-4E3F-8603-F8AAC434C709}" sibTransId="{5C722018-E37F-43B2-AC51-85B5F02AF3A3}"/>
    <dgm:cxn modelId="{EA2B48E4-34B2-46EE-913F-001FD2A26564}" type="presOf" srcId="{92BFFA1A-4CE7-40E4-945B-741BC933D006}" destId="{D0F573CA-CD81-4C67-BEFB-89245C9AAE9C}" srcOrd="0" destOrd="3" presId="urn:microsoft.com/office/officeart/2005/8/layout/hChevron3"/>
    <dgm:cxn modelId="{228B5D65-0959-4B79-9870-982D6B0DE150}" type="presOf" srcId="{A0894EB5-D21C-43E0-8DDB-60DC901B7365}" destId="{D0F573CA-CD81-4C67-BEFB-89245C9AAE9C}" srcOrd="0" destOrd="2" presId="urn:microsoft.com/office/officeart/2005/8/layout/hChevron3"/>
    <dgm:cxn modelId="{BEE6E80F-2202-4FCD-93BF-D41A94B9BF21}" srcId="{7CF72C71-5875-42BE-9836-650664FE561F}" destId="{A0894EB5-D21C-43E0-8DDB-60DC901B7365}" srcOrd="0" destOrd="0" parTransId="{F6738176-BFFD-4A37-A8B7-F640DA642ACA}" sibTransId="{C8D49290-724F-428A-86F8-A4EA27C2CE4C}"/>
    <dgm:cxn modelId="{BF584951-D9B4-4033-BDF1-9299C2617542}" type="presParOf" srcId="{61E684A9-D6C1-4DC0-8CB6-F574763AE61E}" destId="{D0F573CA-CD81-4C67-BEFB-89245C9AAE9C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98AA2EA-DDBF-4AA2-9718-23DF4FE4BA97}" type="doc">
      <dgm:prSet loTypeId="urn:microsoft.com/office/officeart/2005/8/layout/bProcess3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2CD14827-F4C2-4035-B104-58E9E2952569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Population registered</a:t>
          </a:r>
        </a:p>
      </dgm:t>
    </dgm:pt>
    <dgm:pt modelId="{F40DA7FA-7955-447C-90EB-A7658B7DF45C}" type="parTrans" cxnId="{85E1C1BC-FE21-4B23-A9DB-826958E4FC97}">
      <dgm:prSet/>
      <dgm:spPr/>
      <dgm:t>
        <a:bodyPr/>
        <a:lstStyle/>
        <a:p>
          <a:endParaRPr lang="en-US"/>
        </a:p>
      </dgm:t>
    </dgm:pt>
    <dgm:pt modelId="{D75BD53B-A39F-4704-B55F-F8AEF27F23FA}" type="sibTrans" cxnId="{85E1C1BC-FE21-4B23-A9DB-826958E4FC97}">
      <dgm:prSet/>
      <dgm:spPr/>
      <dgm:t>
        <a:bodyPr/>
        <a:lstStyle/>
        <a:p>
          <a:endParaRPr lang="en-US"/>
        </a:p>
      </dgm:t>
    </dgm:pt>
    <dgm:pt modelId="{2FCF4C76-BCBE-4355-A96D-E4FAD9D92F05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Actual Vaccinations administered</a:t>
          </a:r>
        </a:p>
      </dgm:t>
    </dgm:pt>
    <dgm:pt modelId="{33143780-C4DF-4D6B-AC70-7BDAC6DB622A}" type="parTrans" cxnId="{58DF7E9E-9CB7-4CF1-8913-1A2DD5B76F85}">
      <dgm:prSet/>
      <dgm:spPr/>
      <dgm:t>
        <a:bodyPr/>
        <a:lstStyle/>
        <a:p>
          <a:endParaRPr lang="en-US"/>
        </a:p>
      </dgm:t>
    </dgm:pt>
    <dgm:pt modelId="{1B1255D0-E56A-4389-A0EA-B3F2CA1B447D}" type="sibTrans" cxnId="{58DF7E9E-9CB7-4CF1-8913-1A2DD5B76F85}">
      <dgm:prSet/>
      <dgm:spPr/>
      <dgm:t>
        <a:bodyPr/>
        <a:lstStyle/>
        <a:p>
          <a:endParaRPr lang="en-US"/>
        </a:p>
      </dgm:t>
    </dgm:pt>
    <dgm:pt modelId="{46C758E9-8154-4F29-BEEA-C2406D0309A3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By age cohort and subdistrict</a:t>
          </a:r>
          <a:endParaRPr lang="en-US" b="1" dirty="0">
            <a:solidFill>
              <a:schemeClr val="tx1"/>
            </a:solidFill>
          </a:endParaRPr>
        </a:p>
      </dgm:t>
    </dgm:pt>
    <dgm:pt modelId="{D5F24623-3A95-489F-82FC-4F12F1C81B21}" type="parTrans" cxnId="{DFB91A6E-6B8E-4E82-97D8-7EDE62657400}">
      <dgm:prSet/>
      <dgm:spPr/>
      <dgm:t>
        <a:bodyPr/>
        <a:lstStyle/>
        <a:p>
          <a:endParaRPr lang="en-US"/>
        </a:p>
      </dgm:t>
    </dgm:pt>
    <dgm:pt modelId="{EE38EC3C-2F1E-4347-B3F0-A31AC5DBA643}" type="sibTrans" cxnId="{DFB91A6E-6B8E-4E82-97D8-7EDE62657400}">
      <dgm:prSet/>
      <dgm:spPr/>
      <dgm:t>
        <a:bodyPr/>
        <a:lstStyle/>
        <a:p>
          <a:endParaRPr lang="en-US"/>
        </a:p>
      </dgm:t>
    </dgm:pt>
    <dgm:pt modelId="{E91174AB-4ADB-4CAD-9FA9-C8FDFCFD25AD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Vaccine Coverage of Population</a:t>
          </a:r>
        </a:p>
      </dgm:t>
    </dgm:pt>
    <dgm:pt modelId="{FF4931C1-3AA1-4B2D-988A-C6C104B6DAD1}" type="parTrans" cxnId="{B5343556-A027-49EB-B3F3-C8272ACF4C9E}">
      <dgm:prSet/>
      <dgm:spPr/>
      <dgm:t>
        <a:bodyPr/>
        <a:lstStyle/>
        <a:p>
          <a:endParaRPr lang="en-US"/>
        </a:p>
      </dgm:t>
    </dgm:pt>
    <dgm:pt modelId="{A776C749-0A1F-419D-9777-A1BB752C448E}" type="sibTrans" cxnId="{B5343556-A027-49EB-B3F3-C8272ACF4C9E}">
      <dgm:prSet/>
      <dgm:spPr/>
      <dgm:t>
        <a:bodyPr/>
        <a:lstStyle/>
        <a:p>
          <a:endParaRPr lang="en-US"/>
        </a:p>
      </dgm:t>
    </dgm:pt>
    <dgm:pt modelId="{B01E5B1C-B65B-4653-BBAE-DF55FBD7C19B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Absolute Population</a:t>
          </a:r>
        </a:p>
      </dgm:t>
    </dgm:pt>
    <dgm:pt modelId="{D9363328-9CB6-4677-8DB2-88D21C50C620}" type="parTrans" cxnId="{BB344EDB-8E58-4BCC-9C5D-05C0BA5D28F1}">
      <dgm:prSet/>
      <dgm:spPr/>
      <dgm:t>
        <a:bodyPr/>
        <a:lstStyle/>
        <a:p>
          <a:endParaRPr lang="en-US"/>
        </a:p>
      </dgm:t>
    </dgm:pt>
    <dgm:pt modelId="{B02908BD-A13A-4E29-A380-912B73F73E0C}" type="sibTrans" cxnId="{BB344EDB-8E58-4BCC-9C5D-05C0BA5D28F1}">
      <dgm:prSet/>
      <dgm:spPr/>
      <dgm:t>
        <a:bodyPr/>
        <a:lstStyle/>
        <a:p>
          <a:endParaRPr lang="en-US"/>
        </a:p>
      </dgm:t>
    </dgm:pt>
    <dgm:pt modelId="{5EF718A7-CB53-4F3D-A131-DCC355339464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By age cohort and subdistrict</a:t>
          </a:r>
        </a:p>
      </dgm:t>
    </dgm:pt>
    <dgm:pt modelId="{7E90C912-00F3-47EE-90FC-B179A57D0D75}" type="parTrans" cxnId="{4FE0E9ED-3137-49C5-BE01-2CB47EB13646}">
      <dgm:prSet/>
      <dgm:spPr/>
      <dgm:t>
        <a:bodyPr/>
        <a:lstStyle/>
        <a:p>
          <a:endParaRPr lang="en-US"/>
        </a:p>
      </dgm:t>
    </dgm:pt>
    <dgm:pt modelId="{9E2A19E5-67A9-4AA3-AFFB-4A1EFE9D0D2A}" type="sibTrans" cxnId="{4FE0E9ED-3137-49C5-BE01-2CB47EB13646}">
      <dgm:prSet/>
      <dgm:spPr/>
      <dgm:t>
        <a:bodyPr/>
        <a:lstStyle/>
        <a:p>
          <a:endParaRPr lang="en-US"/>
        </a:p>
      </dgm:t>
    </dgm:pt>
    <dgm:pt modelId="{FDE02F43-2D36-4F4E-A65B-AAB52BDF1174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By age cohort and subdistrict</a:t>
          </a:r>
        </a:p>
      </dgm:t>
    </dgm:pt>
    <dgm:pt modelId="{09DD3A41-69F9-44D7-B065-D3493D3640C0}" type="parTrans" cxnId="{F15AA90A-D7B2-49F9-8B05-8155FDB261A3}">
      <dgm:prSet/>
      <dgm:spPr/>
      <dgm:t>
        <a:bodyPr/>
        <a:lstStyle/>
        <a:p>
          <a:endParaRPr lang="en-US"/>
        </a:p>
      </dgm:t>
    </dgm:pt>
    <dgm:pt modelId="{DE8787FE-CDE6-400B-A3E6-8F91F293CA17}" type="sibTrans" cxnId="{F15AA90A-D7B2-49F9-8B05-8155FDB261A3}">
      <dgm:prSet/>
      <dgm:spPr/>
      <dgm:t>
        <a:bodyPr/>
        <a:lstStyle/>
        <a:p>
          <a:endParaRPr lang="en-US"/>
        </a:p>
      </dgm:t>
    </dgm:pt>
    <dgm:pt modelId="{FE074C61-76E3-4D61-868D-8D230B6C8416}">
      <dgm:prSet/>
      <dgm:spPr/>
      <dgm:t>
        <a:bodyPr/>
        <a:lstStyle/>
        <a:p>
          <a:r>
            <a:rPr lang="en-US">
              <a:solidFill>
                <a:schemeClr val="tx1"/>
              </a:solidFill>
            </a:rPr>
            <a:t>By </a:t>
          </a:r>
          <a:r>
            <a:rPr lang="en-US" dirty="0">
              <a:solidFill>
                <a:schemeClr val="tx1"/>
              </a:solidFill>
            </a:rPr>
            <a:t>age cohort and subdistrict</a:t>
          </a:r>
        </a:p>
      </dgm:t>
    </dgm:pt>
    <dgm:pt modelId="{1C2D6C2E-49AD-44AA-A978-D83DD5603BD5}" type="parTrans" cxnId="{582BAEC9-8F06-4C64-97DD-029FC82C0D26}">
      <dgm:prSet/>
      <dgm:spPr/>
      <dgm:t>
        <a:bodyPr/>
        <a:lstStyle/>
        <a:p>
          <a:endParaRPr lang="en-US"/>
        </a:p>
      </dgm:t>
    </dgm:pt>
    <dgm:pt modelId="{F8EDC070-9A2E-489B-822D-FA3375B6FD5F}" type="sibTrans" cxnId="{582BAEC9-8F06-4C64-97DD-029FC82C0D26}">
      <dgm:prSet/>
      <dgm:spPr/>
      <dgm:t>
        <a:bodyPr/>
        <a:lstStyle/>
        <a:p>
          <a:endParaRPr lang="en-US"/>
        </a:p>
      </dgm:t>
    </dgm:pt>
    <dgm:pt modelId="{83F96580-D395-441F-8B1B-E42DA76661A0}" type="pres">
      <dgm:prSet presAssocID="{D98AA2EA-DDBF-4AA2-9718-23DF4FE4BA97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FC80DEBA-DA25-4BBC-B5D1-70A00A7856B3}" type="pres">
      <dgm:prSet presAssocID="{B01E5B1C-B65B-4653-BBAE-DF55FBD7C19B}" presName="node" presStyleLbl="node1" presStyleIdx="0" presStyleCnt="4" custScaleX="8846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6EE4CD1-5872-48C4-B72A-A1FE97E5CFCB}" type="pres">
      <dgm:prSet presAssocID="{B02908BD-A13A-4E29-A380-912B73F73E0C}" presName="sibTrans" presStyleLbl="sibTrans1D1" presStyleIdx="0" presStyleCnt="3"/>
      <dgm:spPr/>
      <dgm:t>
        <a:bodyPr/>
        <a:lstStyle/>
        <a:p>
          <a:endParaRPr lang="en-ZA"/>
        </a:p>
      </dgm:t>
    </dgm:pt>
    <dgm:pt modelId="{5DF7DC21-987F-4F7C-A8C9-4409ABAD9B05}" type="pres">
      <dgm:prSet presAssocID="{B02908BD-A13A-4E29-A380-912B73F73E0C}" presName="connectorText" presStyleLbl="sibTrans1D1" presStyleIdx="0" presStyleCnt="3"/>
      <dgm:spPr/>
      <dgm:t>
        <a:bodyPr/>
        <a:lstStyle/>
        <a:p>
          <a:endParaRPr lang="en-ZA"/>
        </a:p>
      </dgm:t>
    </dgm:pt>
    <dgm:pt modelId="{FB8A536D-9C20-4025-BFD6-F0A726304CA5}" type="pres">
      <dgm:prSet presAssocID="{2CD14827-F4C2-4035-B104-58E9E2952569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40F5E60-28AF-4987-9461-DF4FFD28298F}" type="pres">
      <dgm:prSet presAssocID="{D75BD53B-A39F-4704-B55F-F8AEF27F23FA}" presName="sibTrans" presStyleLbl="sibTrans1D1" presStyleIdx="1" presStyleCnt="3"/>
      <dgm:spPr/>
      <dgm:t>
        <a:bodyPr/>
        <a:lstStyle/>
        <a:p>
          <a:endParaRPr lang="en-ZA"/>
        </a:p>
      </dgm:t>
    </dgm:pt>
    <dgm:pt modelId="{053691B1-D0DE-431F-BA74-88E30C17CBFA}" type="pres">
      <dgm:prSet presAssocID="{D75BD53B-A39F-4704-B55F-F8AEF27F23FA}" presName="connectorText" presStyleLbl="sibTrans1D1" presStyleIdx="1" presStyleCnt="3"/>
      <dgm:spPr/>
      <dgm:t>
        <a:bodyPr/>
        <a:lstStyle/>
        <a:p>
          <a:endParaRPr lang="en-ZA"/>
        </a:p>
      </dgm:t>
    </dgm:pt>
    <dgm:pt modelId="{8153DAAE-0E85-4A50-A375-493738819C4D}" type="pres">
      <dgm:prSet presAssocID="{2FCF4C76-BCBE-4355-A96D-E4FAD9D92F05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B5D6D895-63EF-46AA-9068-E6BB06B74068}" type="pres">
      <dgm:prSet presAssocID="{1B1255D0-E56A-4389-A0EA-B3F2CA1B447D}" presName="sibTrans" presStyleLbl="sibTrans1D1" presStyleIdx="2" presStyleCnt="3"/>
      <dgm:spPr/>
      <dgm:t>
        <a:bodyPr/>
        <a:lstStyle/>
        <a:p>
          <a:endParaRPr lang="en-ZA"/>
        </a:p>
      </dgm:t>
    </dgm:pt>
    <dgm:pt modelId="{D7F618B0-8909-4F77-A2B9-4C24B12A9B81}" type="pres">
      <dgm:prSet presAssocID="{1B1255D0-E56A-4389-A0EA-B3F2CA1B447D}" presName="connectorText" presStyleLbl="sibTrans1D1" presStyleIdx="2" presStyleCnt="3"/>
      <dgm:spPr/>
      <dgm:t>
        <a:bodyPr/>
        <a:lstStyle/>
        <a:p>
          <a:endParaRPr lang="en-ZA"/>
        </a:p>
      </dgm:t>
    </dgm:pt>
    <dgm:pt modelId="{6E3D5DDF-ECE0-4C4B-A212-D4DB9B8D8C74}" type="pres">
      <dgm:prSet presAssocID="{E91174AB-4ADB-4CAD-9FA9-C8FDFCFD25AD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F15AA90A-D7B2-49F9-8B05-8155FDB261A3}" srcId="{B01E5B1C-B65B-4653-BBAE-DF55FBD7C19B}" destId="{FDE02F43-2D36-4F4E-A65B-AAB52BDF1174}" srcOrd="0" destOrd="0" parTransId="{09DD3A41-69F9-44D7-B065-D3493D3640C0}" sibTransId="{DE8787FE-CDE6-400B-A3E6-8F91F293CA17}"/>
    <dgm:cxn modelId="{58EB9012-3006-4135-A132-0DBCD063733B}" type="presOf" srcId="{E91174AB-4ADB-4CAD-9FA9-C8FDFCFD25AD}" destId="{6E3D5DDF-ECE0-4C4B-A212-D4DB9B8D8C74}" srcOrd="0" destOrd="0" presId="urn:microsoft.com/office/officeart/2005/8/layout/bProcess3"/>
    <dgm:cxn modelId="{2C538FC0-6A33-4707-A223-1636161F40DB}" type="presOf" srcId="{5EF718A7-CB53-4F3D-A131-DCC355339464}" destId="{FB8A536D-9C20-4025-BFD6-F0A726304CA5}" srcOrd="0" destOrd="1" presId="urn:microsoft.com/office/officeart/2005/8/layout/bProcess3"/>
    <dgm:cxn modelId="{BB344EDB-8E58-4BCC-9C5D-05C0BA5D28F1}" srcId="{D98AA2EA-DDBF-4AA2-9718-23DF4FE4BA97}" destId="{B01E5B1C-B65B-4653-BBAE-DF55FBD7C19B}" srcOrd="0" destOrd="0" parTransId="{D9363328-9CB6-4677-8DB2-88D21C50C620}" sibTransId="{B02908BD-A13A-4E29-A380-912B73F73E0C}"/>
    <dgm:cxn modelId="{26A3E928-7BE1-48A0-9104-82F9F080836F}" type="presOf" srcId="{FE074C61-76E3-4D61-868D-8D230B6C8416}" destId="{6E3D5DDF-ECE0-4C4B-A212-D4DB9B8D8C74}" srcOrd="0" destOrd="1" presId="urn:microsoft.com/office/officeart/2005/8/layout/bProcess3"/>
    <dgm:cxn modelId="{A53117EB-7A23-4E43-BA1F-B0184CBB374A}" type="presOf" srcId="{D75BD53B-A39F-4704-B55F-F8AEF27F23FA}" destId="{040F5E60-28AF-4987-9461-DF4FFD28298F}" srcOrd="0" destOrd="0" presId="urn:microsoft.com/office/officeart/2005/8/layout/bProcess3"/>
    <dgm:cxn modelId="{DFB91A6E-6B8E-4E82-97D8-7EDE62657400}" srcId="{2FCF4C76-BCBE-4355-A96D-E4FAD9D92F05}" destId="{46C758E9-8154-4F29-BEEA-C2406D0309A3}" srcOrd="0" destOrd="0" parTransId="{D5F24623-3A95-489F-82FC-4F12F1C81B21}" sibTransId="{EE38EC3C-2F1E-4347-B3F0-A31AC5DBA643}"/>
    <dgm:cxn modelId="{85E1C1BC-FE21-4B23-A9DB-826958E4FC97}" srcId="{D98AA2EA-DDBF-4AA2-9718-23DF4FE4BA97}" destId="{2CD14827-F4C2-4035-B104-58E9E2952569}" srcOrd="1" destOrd="0" parTransId="{F40DA7FA-7955-447C-90EB-A7658B7DF45C}" sibTransId="{D75BD53B-A39F-4704-B55F-F8AEF27F23FA}"/>
    <dgm:cxn modelId="{F9501D29-9D41-4D23-8EB1-0D84A7808CC3}" type="presOf" srcId="{1B1255D0-E56A-4389-A0EA-B3F2CA1B447D}" destId="{D7F618B0-8909-4F77-A2B9-4C24B12A9B81}" srcOrd="1" destOrd="0" presId="urn:microsoft.com/office/officeart/2005/8/layout/bProcess3"/>
    <dgm:cxn modelId="{E6DEF8E8-7470-4704-A6D9-543828FC027C}" type="presOf" srcId="{FDE02F43-2D36-4F4E-A65B-AAB52BDF1174}" destId="{FC80DEBA-DA25-4BBC-B5D1-70A00A7856B3}" srcOrd="0" destOrd="1" presId="urn:microsoft.com/office/officeart/2005/8/layout/bProcess3"/>
    <dgm:cxn modelId="{B5343556-A027-49EB-B3F3-C8272ACF4C9E}" srcId="{D98AA2EA-DDBF-4AA2-9718-23DF4FE4BA97}" destId="{E91174AB-4ADB-4CAD-9FA9-C8FDFCFD25AD}" srcOrd="3" destOrd="0" parTransId="{FF4931C1-3AA1-4B2D-988A-C6C104B6DAD1}" sibTransId="{A776C749-0A1F-419D-9777-A1BB752C448E}"/>
    <dgm:cxn modelId="{2BA72A31-C943-40DA-A34F-4A37BE56CF59}" type="presOf" srcId="{B02908BD-A13A-4E29-A380-912B73F73E0C}" destId="{36EE4CD1-5872-48C4-B72A-A1FE97E5CFCB}" srcOrd="0" destOrd="0" presId="urn:microsoft.com/office/officeart/2005/8/layout/bProcess3"/>
    <dgm:cxn modelId="{582BAEC9-8F06-4C64-97DD-029FC82C0D26}" srcId="{E91174AB-4ADB-4CAD-9FA9-C8FDFCFD25AD}" destId="{FE074C61-76E3-4D61-868D-8D230B6C8416}" srcOrd="0" destOrd="0" parTransId="{1C2D6C2E-49AD-44AA-A978-D83DD5603BD5}" sibTransId="{F8EDC070-9A2E-489B-822D-FA3375B6FD5F}"/>
    <dgm:cxn modelId="{83381B63-28EC-45F9-911A-B97D41F8DD91}" type="presOf" srcId="{D75BD53B-A39F-4704-B55F-F8AEF27F23FA}" destId="{053691B1-D0DE-431F-BA74-88E30C17CBFA}" srcOrd="1" destOrd="0" presId="urn:microsoft.com/office/officeart/2005/8/layout/bProcess3"/>
    <dgm:cxn modelId="{C81B71AF-CAFC-4AD4-9EDC-7C24AA15437B}" type="presOf" srcId="{2CD14827-F4C2-4035-B104-58E9E2952569}" destId="{FB8A536D-9C20-4025-BFD6-F0A726304CA5}" srcOrd="0" destOrd="0" presId="urn:microsoft.com/office/officeart/2005/8/layout/bProcess3"/>
    <dgm:cxn modelId="{4FE0E9ED-3137-49C5-BE01-2CB47EB13646}" srcId="{2CD14827-F4C2-4035-B104-58E9E2952569}" destId="{5EF718A7-CB53-4F3D-A131-DCC355339464}" srcOrd="0" destOrd="0" parTransId="{7E90C912-00F3-47EE-90FC-B179A57D0D75}" sibTransId="{9E2A19E5-67A9-4AA3-AFFB-4A1EFE9D0D2A}"/>
    <dgm:cxn modelId="{5BB5BE3E-EBD4-484F-A8D1-55688AD079E7}" type="presOf" srcId="{2FCF4C76-BCBE-4355-A96D-E4FAD9D92F05}" destId="{8153DAAE-0E85-4A50-A375-493738819C4D}" srcOrd="0" destOrd="0" presId="urn:microsoft.com/office/officeart/2005/8/layout/bProcess3"/>
    <dgm:cxn modelId="{58DF7E9E-9CB7-4CF1-8913-1A2DD5B76F85}" srcId="{D98AA2EA-DDBF-4AA2-9718-23DF4FE4BA97}" destId="{2FCF4C76-BCBE-4355-A96D-E4FAD9D92F05}" srcOrd="2" destOrd="0" parTransId="{33143780-C4DF-4D6B-AC70-7BDAC6DB622A}" sibTransId="{1B1255D0-E56A-4389-A0EA-B3F2CA1B447D}"/>
    <dgm:cxn modelId="{C4DD353A-22F9-4A5C-A3B7-2EF44DB685FE}" type="presOf" srcId="{B02908BD-A13A-4E29-A380-912B73F73E0C}" destId="{5DF7DC21-987F-4F7C-A8C9-4409ABAD9B05}" srcOrd="1" destOrd="0" presId="urn:microsoft.com/office/officeart/2005/8/layout/bProcess3"/>
    <dgm:cxn modelId="{8C83EBB7-FFCF-4B0E-9B10-6FF958DF541E}" type="presOf" srcId="{1B1255D0-E56A-4389-A0EA-B3F2CA1B447D}" destId="{B5D6D895-63EF-46AA-9068-E6BB06B74068}" srcOrd="0" destOrd="0" presId="urn:microsoft.com/office/officeart/2005/8/layout/bProcess3"/>
    <dgm:cxn modelId="{034F5537-4763-4187-B944-1BF4F8F6001D}" type="presOf" srcId="{D98AA2EA-DDBF-4AA2-9718-23DF4FE4BA97}" destId="{83F96580-D395-441F-8B1B-E42DA76661A0}" srcOrd="0" destOrd="0" presId="urn:microsoft.com/office/officeart/2005/8/layout/bProcess3"/>
    <dgm:cxn modelId="{E4993F64-DE7E-43F1-9BF3-296762B589A0}" type="presOf" srcId="{46C758E9-8154-4F29-BEEA-C2406D0309A3}" destId="{8153DAAE-0E85-4A50-A375-493738819C4D}" srcOrd="0" destOrd="1" presId="urn:microsoft.com/office/officeart/2005/8/layout/bProcess3"/>
    <dgm:cxn modelId="{C617D238-CEA4-42F8-BEFA-D36C40DC2187}" type="presOf" srcId="{B01E5B1C-B65B-4653-BBAE-DF55FBD7C19B}" destId="{FC80DEBA-DA25-4BBC-B5D1-70A00A7856B3}" srcOrd="0" destOrd="0" presId="urn:microsoft.com/office/officeart/2005/8/layout/bProcess3"/>
    <dgm:cxn modelId="{633B2803-0888-4C84-95B2-BB758270CE67}" type="presParOf" srcId="{83F96580-D395-441F-8B1B-E42DA76661A0}" destId="{FC80DEBA-DA25-4BBC-B5D1-70A00A7856B3}" srcOrd="0" destOrd="0" presId="urn:microsoft.com/office/officeart/2005/8/layout/bProcess3"/>
    <dgm:cxn modelId="{21F8CE1B-1E0A-43ED-931A-E68DD1413137}" type="presParOf" srcId="{83F96580-D395-441F-8B1B-E42DA76661A0}" destId="{36EE4CD1-5872-48C4-B72A-A1FE97E5CFCB}" srcOrd="1" destOrd="0" presId="urn:microsoft.com/office/officeart/2005/8/layout/bProcess3"/>
    <dgm:cxn modelId="{6A693719-88C5-40D6-A055-1F2E5AE6D926}" type="presParOf" srcId="{36EE4CD1-5872-48C4-B72A-A1FE97E5CFCB}" destId="{5DF7DC21-987F-4F7C-A8C9-4409ABAD9B05}" srcOrd="0" destOrd="0" presId="urn:microsoft.com/office/officeart/2005/8/layout/bProcess3"/>
    <dgm:cxn modelId="{4A996987-2CEB-42CD-9492-59B2D89D115B}" type="presParOf" srcId="{83F96580-D395-441F-8B1B-E42DA76661A0}" destId="{FB8A536D-9C20-4025-BFD6-F0A726304CA5}" srcOrd="2" destOrd="0" presId="urn:microsoft.com/office/officeart/2005/8/layout/bProcess3"/>
    <dgm:cxn modelId="{9AF320A5-5552-4A9C-8E8E-A5D2E65A798B}" type="presParOf" srcId="{83F96580-D395-441F-8B1B-E42DA76661A0}" destId="{040F5E60-28AF-4987-9461-DF4FFD28298F}" srcOrd="3" destOrd="0" presId="urn:microsoft.com/office/officeart/2005/8/layout/bProcess3"/>
    <dgm:cxn modelId="{921EC313-6074-452E-9433-26E2B2D7ED36}" type="presParOf" srcId="{040F5E60-28AF-4987-9461-DF4FFD28298F}" destId="{053691B1-D0DE-431F-BA74-88E30C17CBFA}" srcOrd="0" destOrd="0" presId="urn:microsoft.com/office/officeart/2005/8/layout/bProcess3"/>
    <dgm:cxn modelId="{82386F4A-AA39-44DE-876C-B73A92F535F3}" type="presParOf" srcId="{83F96580-D395-441F-8B1B-E42DA76661A0}" destId="{8153DAAE-0E85-4A50-A375-493738819C4D}" srcOrd="4" destOrd="0" presId="urn:microsoft.com/office/officeart/2005/8/layout/bProcess3"/>
    <dgm:cxn modelId="{A095E739-6252-47D5-A169-0A58E21F50F4}" type="presParOf" srcId="{83F96580-D395-441F-8B1B-E42DA76661A0}" destId="{B5D6D895-63EF-46AA-9068-E6BB06B74068}" srcOrd="5" destOrd="0" presId="urn:microsoft.com/office/officeart/2005/8/layout/bProcess3"/>
    <dgm:cxn modelId="{5E950C6D-DFE4-4C3C-BF3B-392FFCD1C7DB}" type="presParOf" srcId="{B5D6D895-63EF-46AA-9068-E6BB06B74068}" destId="{D7F618B0-8909-4F77-A2B9-4C24B12A9B81}" srcOrd="0" destOrd="0" presId="urn:microsoft.com/office/officeart/2005/8/layout/bProcess3"/>
    <dgm:cxn modelId="{5770618A-D97D-4BBA-8DC4-3469D4BCEDBF}" type="presParOf" srcId="{83F96580-D395-441F-8B1B-E42DA76661A0}" destId="{6E3D5DDF-ECE0-4C4B-A212-D4DB9B8D8C74}" srcOrd="6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CAC3357-79FA-4C32-A0DF-B833E258DF5B}" type="doc">
      <dgm:prSet loTypeId="urn:microsoft.com/office/officeart/2005/8/layout/venn2" loCatId="relationship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DB383F9-9023-48AD-860F-59B4DE6B1482}">
      <dgm:prSet phldrT="[Text]" custT="1"/>
      <dgm:spPr/>
      <dgm:t>
        <a:bodyPr/>
        <a:lstStyle/>
        <a:p>
          <a:r>
            <a:rPr lang="en-US" sz="1000" dirty="0">
              <a:solidFill>
                <a:schemeClr val="tx1"/>
              </a:solidFill>
            </a:rPr>
            <a:t>Predicted Daily Vaccine Throughput</a:t>
          </a:r>
        </a:p>
      </dgm:t>
    </dgm:pt>
    <dgm:pt modelId="{0B52B3D5-1C43-462C-85BF-CF8F7C235CB6}" type="parTrans" cxnId="{44E043B3-14F8-48E9-A877-2EE192EB9CBA}">
      <dgm:prSet/>
      <dgm:spPr/>
      <dgm:t>
        <a:bodyPr/>
        <a:lstStyle/>
        <a:p>
          <a:endParaRPr lang="en-US"/>
        </a:p>
      </dgm:t>
    </dgm:pt>
    <dgm:pt modelId="{88354F8A-8CD4-4ABE-B757-108B8342624F}" type="sibTrans" cxnId="{44E043B3-14F8-48E9-A877-2EE192EB9CBA}">
      <dgm:prSet/>
      <dgm:spPr/>
      <dgm:t>
        <a:bodyPr/>
        <a:lstStyle/>
        <a:p>
          <a:endParaRPr lang="en-US"/>
        </a:p>
      </dgm:t>
    </dgm:pt>
    <dgm:pt modelId="{58BBBF96-80D6-42F6-9A7E-9280FD442B3B}">
      <dgm:prSet custT="1"/>
      <dgm:spPr/>
      <dgm:t>
        <a:bodyPr/>
        <a:lstStyle/>
        <a:p>
          <a:r>
            <a:rPr lang="en-US" sz="1050">
              <a:solidFill>
                <a:schemeClr val="tx1"/>
              </a:solidFill>
            </a:rPr>
            <a:t>Total Vaccine Stations</a:t>
          </a:r>
          <a:endParaRPr lang="en-US" sz="1050" dirty="0">
            <a:solidFill>
              <a:schemeClr val="tx1"/>
            </a:solidFill>
          </a:endParaRPr>
        </a:p>
      </dgm:t>
    </dgm:pt>
    <dgm:pt modelId="{9415D631-026C-44FB-ABA4-F8A59D1E8691}" type="parTrans" cxnId="{41E2B85E-0744-4E2D-A02D-A17FD89CEFDB}">
      <dgm:prSet/>
      <dgm:spPr/>
      <dgm:t>
        <a:bodyPr/>
        <a:lstStyle/>
        <a:p>
          <a:endParaRPr lang="en-US"/>
        </a:p>
      </dgm:t>
    </dgm:pt>
    <dgm:pt modelId="{88CB99AA-FBF2-417C-A767-F4E1555C97E9}" type="sibTrans" cxnId="{41E2B85E-0744-4E2D-A02D-A17FD89CEFDB}">
      <dgm:prSet/>
      <dgm:spPr/>
      <dgm:t>
        <a:bodyPr/>
        <a:lstStyle/>
        <a:p>
          <a:endParaRPr lang="en-US"/>
        </a:p>
      </dgm:t>
    </dgm:pt>
    <dgm:pt modelId="{422D595B-561F-4112-9EF1-930A7E26718A}">
      <dgm:prSet custT="1"/>
      <dgm:spPr/>
      <dgm:t>
        <a:bodyPr/>
        <a:lstStyle/>
        <a:p>
          <a:r>
            <a:rPr lang="en-US" sz="1050" dirty="0">
              <a:solidFill>
                <a:schemeClr val="tx1"/>
              </a:solidFill>
            </a:rPr>
            <a:t>Total Sites</a:t>
          </a:r>
        </a:p>
      </dgm:t>
    </dgm:pt>
    <dgm:pt modelId="{2FC0BEFF-F5C9-42AA-B9E2-055DF0EE9EEA}" type="parTrans" cxnId="{2A454DCA-E9B9-46C1-8EFD-30993C3807CD}">
      <dgm:prSet/>
      <dgm:spPr/>
      <dgm:t>
        <a:bodyPr/>
        <a:lstStyle/>
        <a:p>
          <a:endParaRPr lang="en-US"/>
        </a:p>
      </dgm:t>
    </dgm:pt>
    <dgm:pt modelId="{C5E66232-95E2-4F3C-916C-E3D95D8D78DD}" type="sibTrans" cxnId="{2A454DCA-E9B9-46C1-8EFD-30993C3807CD}">
      <dgm:prSet/>
      <dgm:spPr/>
      <dgm:t>
        <a:bodyPr/>
        <a:lstStyle/>
        <a:p>
          <a:endParaRPr lang="en-US"/>
        </a:p>
      </dgm:t>
    </dgm:pt>
    <dgm:pt modelId="{304D622D-B2B1-4F82-A620-C2778734E123}" type="pres">
      <dgm:prSet presAssocID="{3CAC3357-79FA-4C32-A0DF-B833E258DF5B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FE273905-3DD7-4B91-9419-19C70C261345}" type="pres">
      <dgm:prSet presAssocID="{3CAC3357-79FA-4C32-A0DF-B833E258DF5B}" presName="comp1" presStyleCnt="0"/>
      <dgm:spPr/>
    </dgm:pt>
    <dgm:pt modelId="{372952B9-070F-4D80-A832-5045C3BB50E0}" type="pres">
      <dgm:prSet presAssocID="{3CAC3357-79FA-4C32-A0DF-B833E258DF5B}" presName="circle1" presStyleLbl="node1" presStyleIdx="0" presStyleCnt="3"/>
      <dgm:spPr/>
      <dgm:t>
        <a:bodyPr/>
        <a:lstStyle/>
        <a:p>
          <a:endParaRPr lang="en-ZA"/>
        </a:p>
      </dgm:t>
    </dgm:pt>
    <dgm:pt modelId="{4C4F4B4F-DDF5-4FF1-8CE3-107F0C64BBEF}" type="pres">
      <dgm:prSet presAssocID="{3CAC3357-79FA-4C32-A0DF-B833E258DF5B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CEB891B-B79A-4D29-891F-B96653666F2E}" type="pres">
      <dgm:prSet presAssocID="{3CAC3357-79FA-4C32-A0DF-B833E258DF5B}" presName="comp2" presStyleCnt="0"/>
      <dgm:spPr/>
    </dgm:pt>
    <dgm:pt modelId="{C980C3EE-8CF3-4BF8-9A25-F04B15FE3102}" type="pres">
      <dgm:prSet presAssocID="{3CAC3357-79FA-4C32-A0DF-B833E258DF5B}" presName="circle2" presStyleLbl="node1" presStyleIdx="1" presStyleCnt="3"/>
      <dgm:spPr/>
      <dgm:t>
        <a:bodyPr/>
        <a:lstStyle/>
        <a:p>
          <a:endParaRPr lang="en-ZA"/>
        </a:p>
      </dgm:t>
    </dgm:pt>
    <dgm:pt modelId="{5A781CBB-B151-4ABE-A991-C6795C1F339C}" type="pres">
      <dgm:prSet presAssocID="{3CAC3357-79FA-4C32-A0DF-B833E258DF5B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8CBABFD-1BE4-430B-8329-0FFD03D2E0E9}" type="pres">
      <dgm:prSet presAssocID="{3CAC3357-79FA-4C32-A0DF-B833E258DF5B}" presName="comp3" presStyleCnt="0"/>
      <dgm:spPr/>
    </dgm:pt>
    <dgm:pt modelId="{2BD15D81-737F-4D85-9C72-8211ED07347E}" type="pres">
      <dgm:prSet presAssocID="{3CAC3357-79FA-4C32-A0DF-B833E258DF5B}" presName="circle3" presStyleLbl="node1" presStyleIdx="2" presStyleCnt="3"/>
      <dgm:spPr/>
      <dgm:t>
        <a:bodyPr/>
        <a:lstStyle/>
        <a:p>
          <a:endParaRPr lang="en-ZA"/>
        </a:p>
      </dgm:t>
    </dgm:pt>
    <dgm:pt modelId="{8DA6F198-A079-415E-8828-527168BD8318}" type="pres">
      <dgm:prSet presAssocID="{3CAC3357-79FA-4C32-A0DF-B833E258DF5B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44E043B3-14F8-48E9-A877-2EE192EB9CBA}" srcId="{3CAC3357-79FA-4C32-A0DF-B833E258DF5B}" destId="{EDB383F9-9023-48AD-860F-59B4DE6B1482}" srcOrd="0" destOrd="0" parTransId="{0B52B3D5-1C43-462C-85BF-CF8F7C235CB6}" sibTransId="{88354F8A-8CD4-4ABE-B757-108B8342624F}"/>
    <dgm:cxn modelId="{2A454DCA-E9B9-46C1-8EFD-30993C3807CD}" srcId="{3CAC3357-79FA-4C32-A0DF-B833E258DF5B}" destId="{422D595B-561F-4112-9EF1-930A7E26718A}" srcOrd="2" destOrd="0" parTransId="{2FC0BEFF-F5C9-42AA-B9E2-055DF0EE9EEA}" sibTransId="{C5E66232-95E2-4F3C-916C-E3D95D8D78DD}"/>
    <dgm:cxn modelId="{C45907BF-023C-4357-95CD-EF6078315A59}" type="presOf" srcId="{58BBBF96-80D6-42F6-9A7E-9280FD442B3B}" destId="{5A781CBB-B151-4ABE-A991-C6795C1F339C}" srcOrd="1" destOrd="0" presId="urn:microsoft.com/office/officeart/2005/8/layout/venn2"/>
    <dgm:cxn modelId="{EC041CEA-AAD9-44FA-8A2D-5D089823A297}" type="presOf" srcId="{EDB383F9-9023-48AD-860F-59B4DE6B1482}" destId="{4C4F4B4F-DDF5-4FF1-8CE3-107F0C64BBEF}" srcOrd="1" destOrd="0" presId="urn:microsoft.com/office/officeart/2005/8/layout/venn2"/>
    <dgm:cxn modelId="{4D72E8EB-104C-443B-83FE-174CD42F4212}" type="presOf" srcId="{58BBBF96-80D6-42F6-9A7E-9280FD442B3B}" destId="{C980C3EE-8CF3-4BF8-9A25-F04B15FE3102}" srcOrd="0" destOrd="0" presId="urn:microsoft.com/office/officeart/2005/8/layout/venn2"/>
    <dgm:cxn modelId="{54656E04-7297-431A-B0C9-3CB1ACEB057A}" type="presOf" srcId="{422D595B-561F-4112-9EF1-930A7E26718A}" destId="{2BD15D81-737F-4D85-9C72-8211ED07347E}" srcOrd="0" destOrd="0" presId="urn:microsoft.com/office/officeart/2005/8/layout/venn2"/>
    <dgm:cxn modelId="{43146F86-16AF-4D34-9B1B-B91BD809641A}" type="presOf" srcId="{422D595B-561F-4112-9EF1-930A7E26718A}" destId="{8DA6F198-A079-415E-8828-527168BD8318}" srcOrd="1" destOrd="0" presId="urn:microsoft.com/office/officeart/2005/8/layout/venn2"/>
    <dgm:cxn modelId="{3C7B76F9-7E5E-45D4-99BC-36A462BFC24F}" type="presOf" srcId="{EDB383F9-9023-48AD-860F-59B4DE6B1482}" destId="{372952B9-070F-4D80-A832-5045C3BB50E0}" srcOrd="0" destOrd="0" presId="urn:microsoft.com/office/officeart/2005/8/layout/venn2"/>
    <dgm:cxn modelId="{41E2B85E-0744-4E2D-A02D-A17FD89CEFDB}" srcId="{3CAC3357-79FA-4C32-A0DF-B833E258DF5B}" destId="{58BBBF96-80D6-42F6-9A7E-9280FD442B3B}" srcOrd="1" destOrd="0" parTransId="{9415D631-026C-44FB-ABA4-F8A59D1E8691}" sibTransId="{88CB99AA-FBF2-417C-A767-F4E1555C97E9}"/>
    <dgm:cxn modelId="{149ACCDA-09F1-4325-86FF-CB44D00CAE62}" type="presOf" srcId="{3CAC3357-79FA-4C32-A0DF-B833E258DF5B}" destId="{304D622D-B2B1-4F82-A620-C2778734E123}" srcOrd="0" destOrd="0" presId="urn:microsoft.com/office/officeart/2005/8/layout/venn2"/>
    <dgm:cxn modelId="{5C4C0D4C-B088-4438-938B-E0745BE3C3B3}" type="presParOf" srcId="{304D622D-B2B1-4F82-A620-C2778734E123}" destId="{FE273905-3DD7-4B91-9419-19C70C261345}" srcOrd="0" destOrd="0" presId="urn:microsoft.com/office/officeart/2005/8/layout/venn2"/>
    <dgm:cxn modelId="{7CBDAA4C-9C78-40DF-94ED-8EA413DA6EBE}" type="presParOf" srcId="{FE273905-3DD7-4B91-9419-19C70C261345}" destId="{372952B9-070F-4D80-A832-5045C3BB50E0}" srcOrd="0" destOrd="0" presId="urn:microsoft.com/office/officeart/2005/8/layout/venn2"/>
    <dgm:cxn modelId="{82C549A2-7DF3-49A8-8508-568549391184}" type="presParOf" srcId="{FE273905-3DD7-4B91-9419-19C70C261345}" destId="{4C4F4B4F-DDF5-4FF1-8CE3-107F0C64BBEF}" srcOrd="1" destOrd="0" presId="urn:microsoft.com/office/officeart/2005/8/layout/venn2"/>
    <dgm:cxn modelId="{983C17AB-6E51-4461-BC18-98EDFA8217E7}" type="presParOf" srcId="{304D622D-B2B1-4F82-A620-C2778734E123}" destId="{FCEB891B-B79A-4D29-891F-B96653666F2E}" srcOrd="1" destOrd="0" presId="urn:microsoft.com/office/officeart/2005/8/layout/venn2"/>
    <dgm:cxn modelId="{6C557CE0-12E2-4C7F-93A1-4579F284974E}" type="presParOf" srcId="{FCEB891B-B79A-4D29-891F-B96653666F2E}" destId="{C980C3EE-8CF3-4BF8-9A25-F04B15FE3102}" srcOrd="0" destOrd="0" presId="urn:microsoft.com/office/officeart/2005/8/layout/venn2"/>
    <dgm:cxn modelId="{75AC09D6-1A5B-4C65-BB32-9C9559740BCB}" type="presParOf" srcId="{FCEB891B-B79A-4D29-891F-B96653666F2E}" destId="{5A781CBB-B151-4ABE-A991-C6795C1F339C}" srcOrd="1" destOrd="0" presId="urn:microsoft.com/office/officeart/2005/8/layout/venn2"/>
    <dgm:cxn modelId="{2EC77394-9690-432F-8F95-D0B1E5B6DFD3}" type="presParOf" srcId="{304D622D-B2B1-4F82-A620-C2778734E123}" destId="{48CBABFD-1BE4-430B-8329-0FFD03D2E0E9}" srcOrd="2" destOrd="0" presId="urn:microsoft.com/office/officeart/2005/8/layout/venn2"/>
    <dgm:cxn modelId="{9132E0EC-69B3-4CE6-9854-68C8BA29944D}" type="presParOf" srcId="{48CBABFD-1BE4-430B-8329-0FFD03D2E0E9}" destId="{2BD15D81-737F-4D85-9C72-8211ED07347E}" srcOrd="0" destOrd="0" presId="urn:microsoft.com/office/officeart/2005/8/layout/venn2"/>
    <dgm:cxn modelId="{0A3B4AD1-526F-4ACE-82DE-C83CDA9F4CE9}" type="presParOf" srcId="{48CBABFD-1BE4-430B-8329-0FFD03D2E0E9}" destId="{8DA6F198-A079-415E-8828-527168BD8318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CAC3357-79FA-4C32-A0DF-B833E258DF5B}" type="doc">
      <dgm:prSet loTypeId="urn:microsoft.com/office/officeart/2009/layout/CircleArrowProcess" loCatId="process" qsTypeId="urn:microsoft.com/office/officeart/2005/8/quickstyle/simple3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EDB383F9-9023-48AD-860F-59B4DE6B1482}">
      <dgm:prSet phldrT="[Text]"/>
      <dgm:spPr/>
      <dgm:t>
        <a:bodyPr/>
        <a:lstStyle/>
        <a:p>
          <a:r>
            <a:rPr lang="en-US"/>
            <a:t>Vaccines Ordered</a:t>
          </a:r>
          <a:endParaRPr lang="en-US" dirty="0"/>
        </a:p>
      </dgm:t>
    </dgm:pt>
    <dgm:pt modelId="{0B52B3D5-1C43-462C-85BF-CF8F7C235CB6}" type="parTrans" cxnId="{44E043B3-14F8-48E9-A877-2EE192EB9CBA}">
      <dgm:prSet/>
      <dgm:spPr/>
      <dgm:t>
        <a:bodyPr/>
        <a:lstStyle/>
        <a:p>
          <a:endParaRPr lang="en-US"/>
        </a:p>
      </dgm:t>
    </dgm:pt>
    <dgm:pt modelId="{88354F8A-8CD4-4ABE-B757-108B8342624F}" type="sibTrans" cxnId="{44E043B3-14F8-48E9-A877-2EE192EB9CBA}">
      <dgm:prSet/>
      <dgm:spPr/>
      <dgm:t>
        <a:bodyPr/>
        <a:lstStyle/>
        <a:p>
          <a:endParaRPr lang="en-US"/>
        </a:p>
      </dgm:t>
    </dgm:pt>
    <dgm:pt modelId="{58BBBF96-80D6-42F6-9A7E-9280FD442B3B}">
      <dgm:prSet/>
      <dgm:spPr/>
      <dgm:t>
        <a:bodyPr/>
        <a:lstStyle/>
        <a:p>
          <a:r>
            <a:rPr lang="en-US"/>
            <a:t>Vaccines Received</a:t>
          </a:r>
          <a:endParaRPr lang="en-US" dirty="0"/>
        </a:p>
      </dgm:t>
    </dgm:pt>
    <dgm:pt modelId="{9415D631-026C-44FB-ABA4-F8A59D1E8691}" type="parTrans" cxnId="{41E2B85E-0744-4E2D-A02D-A17FD89CEFDB}">
      <dgm:prSet/>
      <dgm:spPr/>
      <dgm:t>
        <a:bodyPr/>
        <a:lstStyle/>
        <a:p>
          <a:endParaRPr lang="en-US"/>
        </a:p>
      </dgm:t>
    </dgm:pt>
    <dgm:pt modelId="{88CB99AA-FBF2-417C-A767-F4E1555C97E9}" type="sibTrans" cxnId="{41E2B85E-0744-4E2D-A02D-A17FD89CEFDB}">
      <dgm:prSet/>
      <dgm:spPr/>
      <dgm:t>
        <a:bodyPr/>
        <a:lstStyle/>
        <a:p>
          <a:endParaRPr lang="en-US"/>
        </a:p>
      </dgm:t>
    </dgm:pt>
    <dgm:pt modelId="{422D595B-561F-4112-9EF1-930A7E26718A}">
      <dgm:prSet/>
      <dgm:spPr/>
      <dgm:t>
        <a:bodyPr/>
        <a:lstStyle/>
        <a:p>
          <a:r>
            <a:rPr lang="en-US"/>
            <a:t>Vaccines Issued</a:t>
          </a:r>
          <a:endParaRPr lang="en-US" dirty="0"/>
        </a:p>
      </dgm:t>
    </dgm:pt>
    <dgm:pt modelId="{2FC0BEFF-F5C9-42AA-B9E2-055DF0EE9EEA}" type="parTrans" cxnId="{2A454DCA-E9B9-46C1-8EFD-30993C3807CD}">
      <dgm:prSet/>
      <dgm:spPr/>
      <dgm:t>
        <a:bodyPr/>
        <a:lstStyle/>
        <a:p>
          <a:endParaRPr lang="en-US"/>
        </a:p>
      </dgm:t>
    </dgm:pt>
    <dgm:pt modelId="{C5E66232-95E2-4F3C-916C-E3D95D8D78DD}" type="sibTrans" cxnId="{2A454DCA-E9B9-46C1-8EFD-30993C3807CD}">
      <dgm:prSet/>
      <dgm:spPr/>
      <dgm:t>
        <a:bodyPr/>
        <a:lstStyle/>
        <a:p>
          <a:endParaRPr lang="en-US"/>
        </a:p>
      </dgm:t>
    </dgm:pt>
    <dgm:pt modelId="{2D7C03CD-F0E9-4C43-8FBA-4433093F2AE2}" type="pres">
      <dgm:prSet presAssocID="{3CAC3357-79FA-4C32-A0DF-B833E258DF5B}" presName="Name0" presStyleCnt="0">
        <dgm:presLayoutVars>
          <dgm:chMax val="7"/>
          <dgm:chPref val="7"/>
          <dgm:dir val="rev"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C9B290AF-AE80-4491-AE95-04A558B057C8}" type="pres">
      <dgm:prSet presAssocID="{EDB383F9-9023-48AD-860F-59B4DE6B1482}" presName="Accent1" presStyleCnt="0"/>
      <dgm:spPr/>
    </dgm:pt>
    <dgm:pt modelId="{BF289885-7846-4148-BFC9-F0C158AC2433}" type="pres">
      <dgm:prSet presAssocID="{EDB383F9-9023-48AD-860F-59B4DE6B1482}" presName="Accent" presStyleLbl="node1" presStyleIdx="0" presStyleCnt="3"/>
      <dgm:spPr/>
    </dgm:pt>
    <dgm:pt modelId="{C787441F-FA94-4D22-9983-826F9761823F}" type="pres">
      <dgm:prSet presAssocID="{EDB383F9-9023-48AD-860F-59B4DE6B1482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93741FD-DC9C-4ABA-AC09-BE61B3FD336C}" type="pres">
      <dgm:prSet presAssocID="{58BBBF96-80D6-42F6-9A7E-9280FD442B3B}" presName="Accent2" presStyleCnt="0"/>
      <dgm:spPr/>
    </dgm:pt>
    <dgm:pt modelId="{B2F47EC1-ABE4-422C-B727-3CED64DDB598}" type="pres">
      <dgm:prSet presAssocID="{58BBBF96-80D6-42F6-9A7E-9280FD442B3B}" presName="Accent" presStyleLbl="node1" presStyleIdx="1" presStyleCnt="3"/>
      <dgm:spPr/>
    </dgm:pt>
    <dgm:pt modelId="{257485D2-C159-4BEF-B9D8-8D28B9097996}" type="pres">
      <dgm:prSet presAssocID="{58BBBF96-80D6-42F6-9A7E-9280FD442B3B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534E843-88CB-4DCC-9D0C-F1D4BB25807B}" type="pres">
      <dgm:prSet presAssocID="{422D595B-561F-4112-9EF1-930A7E26718A}" presName="Accent3" presStyleCnt="0"/>
      <dgm:spPr/>
    </dgm:pt>
    <dgm:pt modelId="{9D8DBEBB-DBBD-47ED-A5AC-F46B9C297990}" type="pres">
      <dgm:prSet presAssocID="{422D595B-561F-4112-9EF1-930A7E26718A}" presName="Accent" presStyleLbl="node1" presStyleIdx="2" presStyleCnt="3"/>
      <dgm:spPr/>
    </dgm:pt>
    <dgm:pt modelId="{8B43D582-BF31-4971-A038-66DC6649D7C7}" type="pres">
      <dgm:prSet presAssocID="{422D595B-561F-4112-9EF1-930A7E26718A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44E043B3-14F8-48E9-A877-2EE192EB9CBA}" srcId="{3CAC3357-79FA-4C32-A0DF-B833E258DF5B}" destId="{EDB383F9-9023-48AD-860F-59B4DE6B1482}" srcOrd="0" destOrd="0" parTransId="{0B52B3D5-1C43-462C-85BF-CF8F7C235CB6}" sibTransId="{88354F8A-8CD4-4ABE-B757-108B8342624F}"/>
    <dgm:cxn modelId="{2A454DCA-E9B9-46C1-8EFD-30993C3807CD}" srcId="{3CAC3357-79FA-4C32-A0DF-B833E258DF5B}" destId="{422D595B-561F-4112-9EF1-930A7E26718A}" srcOrd="2" destOrd="0" parTransId="{2FC0BEFF-F5C9-42AA-B9E2-055DF0EE9EEA}" sibTransId="{C5E66232-95E2-4F3C-916C-E3D95D8D78DD}"/>
    <dgm:cxn modelId="{2CEDF628-1DE2-49C7-BB6F-3A489BDD156F}" type="presOf" srcId="{3CAC3357-79FA-4C32-A0DF-B833E258DF5B}" destId="{2D7C03CD-F0E9-4C43-8FBA-4433093F2AE2}" srcOrd="0" destOrd="0" presId="urn:microsoft.com/office/officeart/2009/layout/CircleArrowProcess"/>
    <dgm:cxn modelId="{C743D31C-511C-4A79-97F6-2005D16D684E}" type="presOf" srcId="{EDB383F9-9023-48AD-860F-59B4DE6B1482}" destId="{C787441F-FA94-4D22-9983-826F9761823F}" srcOrd="0" destOrd="0" presId="urn:microsoft.com/office/officeart/2009/layout/CircleArrowProcess"/>
    <dgm:cxn modelId="{C7F89176-FE81-43E3-BE25-D16009E96D1F}" type="presOf" srcId="{422D595B-561F-4112-9EF1-930A7E26718A}" destId="{8B43D582-BF31-4971-A038-66DC6649D7C7}" srcOrd="0" destOrd="0" presId="urn:microsoft.com/office/officeart/2009/layout/CircleArrowProcess"/>
    <dgm:cxn modelId="{41E2B85E-0744-4E2D-A02D-A17FD89CEFDB}" srcId="{3CAC3357-79FA-4C32-A0DF-B833E258DF5B}" destId="{58BBBF96-80D6-42F6-9A7E-9280FD442B3B}" srcOrd="1" destOrd="0" parTransId="{9415D631-026C-44FB-ABA4-F8A59D1E8691}" sibTransId="{88CB99AA-FBF2-417C-A767-F4E1555C97E9}"/>
    <dgm:cxn modelId="{967AD26D-E789-4C60-9326-C023FC204BDE}" type="presOf" srcId="{58BBBF96-80D6-42F6-9A7E-9280FD442B3B}" destId="{257485D2-C159-4BEF-B9D8-8D28B9097996}" srcOrd="0" destOrd="0" presId="urn:microsoft.com/office/officeart/2009/layout/CircleArrowProcess"/>
    <dgm:cxn modelId="{6A2383E6-FABF-4BC1-95BA-50D31E38F8EF}" type="presParOf" srcId="{2D7C03CD-F0E9-4C43-8FBA-4433093F2AE2}" destId="{C9B290AF-AE80-4491-AE95-04A558B057C8}" srcOrd="0" destOrd="0" presId="urn:microsoft.com/office/officeart/2009/layout/CircleArrowProcess"/>
    <dgm:cxn modelId="{49C8EE0D-81B4-424A-BE10-B7B9511A53CB}" type="presParOf" srcId="{C9B290AF-AE80-4491-AE95-04A558B057C8}" destId="{BF289885-7846-4148-BFC9-F0C158AC2433}" srcOrd="0" destOrd="0" presId="urn:microsoft.com/office/officeart/2009/layout/CircleArrowProcess"/>
    <dgm:cxn modelId="{76903D70-24E3-4D8E-85CE-F0ABD9244A5F}" type="presParOf" srcId="{2D7C03CD-F0E9-4C43-8FBA-4433093F2AE2}" destId="{C787441F-FA94-4D22-9983-826F9761823F}" srcOrd="1" destOrd="0" presId="urn:microsoft.com/office/officeart/2009/layout/CircleArrowProcess"/>
    <dgm:cxn modelId="{1537A23D-A84D-4201-BF29-CBC32C1FEC13}" type="presParOf" srcId="{2D7C03CD-F0E9-4C43-8FBA-4433093F2AE2}" destId="{793741FD-DC9C-4ABA-AC09-BE61B3FD336C}" srcOrd="2" destOrd="0" presId="urn:microsoft.com/office/officeart/2009/layout/CircleArrowProcess"/>
    <dgm:cxn modelId="{81DC65C2-128E-4609-A989-4AFDAE9F98E4}" type="presParOf" srcId="{793741FD-DC9C-4ABA-AC09-BE61B3FD336C}" destId="{B2F47EC1-ABE4-422C-B727-3CED64DDB598}" srcOrd="0" destOrd="0" presId="urn:microsoft.com/office/officeart/2009/layout/CircleArrowProcess"/>
    <dgm:cxn modelId="{68B6D1E4-CF58-4101-A7BB-6658172D4B85}" type="presParOf" srcId="{2D7C03CD-F0E9-4C43-8FBA-4433093F2AE2}" destId="{257485D2-C159-4BEF-B9D8-8D28B9097996}" srcOrd="3" destOrd="0" presId="urn:microsoft.com/office/officeart/2009/layout/CircleArrowProcess"/>
    <dgm:cxn modelId="{F5CE395E-DF80-4DC7-84FB-D4C43276F736}" type="presParOf" srcId="{2D7C03CD-F0E9-4C43-8FBA-4433093F2AE2}" destId="{7534E843-88CB-4DCC-9D0C-F1D4BB25807B}" srcOrd="4" destOrd="0" presId="urn:microsoft.com/office/officeart/2009/layout/CircleArrowProcess"/>
    <dgm:cxn modelId="{19639D41-AAD1-4473-8AB4-EE102655A7DA}" type="presParOf" srcId="{7534E843-88CB-4DCC-9D0C-F1D4BB25807B}" destId="{9D8DBEBB-DBBD-47ED-A5AC-F46B9C297990}" srcOrd="0" destOrd="0" presId="urn:microsoft.com/office/officeart/2009/layout/CircleArrowProcess"/>
    <dgm:cxn modelId="{46FBD656-D81D-4FE9-8047-F0227E2FA8D2}" type="presParOf" srcId="{2D7C03CD-F0E9-4C43-8FBA-4433093F2AE2}" destId="{8B43D582-BF31-4971-A038-66DC6649D7C7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CAC3357-79FA-4C32-A0DF-B833E258DF5B}" type="doc">
      <dgm:prSet loTypeId="urn:microsoft.com/office/officeart/2009/layout/CircleArrowProcess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DB383F9-9023-48AD-860F-59B4DE6B1482}">
      <dgm:prSet phldrT="[Text]"/>
      <dgm:spPr/>
      <dgm:t>
        <a:bodyPr/>
        <a:lstStyle/>
        <a:p>
          <a:r>
            <a:rPr lang="en-US"/>
            <a:t>Vaccines Ordered</a:t>
          </a:r>
          <a:endParaRPr lang="en-US" dirty="0"/>
        </a:p>
      </dgm:t>
    </dgm:pt>
    <dgm:pt modelId="{0B52B3D5-1C43-462C-85BF-CF8F7C235CB6}" type="parTrans" cxnId="{44E043B3-14F8-48E9-A877-2EE192EB9CBA}">
      <dgm:prSet/>
      <dgm:spPr/>
      <dgm:t>
        <a:bodyPr/>
        <a:lstStyle/>
        <a:p>
          <a:endParaRPr lang="en-US"/>
        </a:p>
      </dgm:t>
    </dgm:pt>
    <dgm:pt modelId="{88354F8A-8CD4-4ABE-B757-108B8342624F}" type="sibTrans" cxnId="{44E043B3-14F8-48E9-A877-2EE192EB9CBA}">
      <dgm:prSet/>
      <dgm:spPr/>
      <dgm:t>
        <a:bodyPr/>
        <a:lstStyle/>
        <a:p>
          <a:endParaRPr lang="en-US"/>
        </a:p>
      </dgm:t>
    </dgm:pt>
    <dgm:pt modelId="{58BBBF96-80D6-42F6-9A7E-9280FD442B3B}">
      <dgm:prSet/>
      <dgm:spPr/>
      <dgm:t>
        <a:bodyPr/>
        <a:lstStyle/>
        <a:p>
          <a:r>
            <a:rPr lang="en-US"/>
            <a:t>Vaccines Received</a:t>
          </a:r>
          <a:endParaRPr lang="en-US" dirty="0"/>
        </a:p>
      </dgm:t>
    </dgm:pt>
    <dgm:pt modelId="{9415D631-026C-44FB-ABA4-F8A59D1E8691}" type="parTrans" cxnId="{41E2B85E-0744-4E2D-A02D-A17FD89CEFDB}">
      <dgm:prSet/>
      <dgm:spPr/>
      <dgm:t>
        <a:bodyPr/>
        <a:lstStyle/>
        <a:p>
          <a:endParaRPr lang="en-US"/>
        </a:p>
      </dgm:t>
    </dgm:pt>
    <dgm:pt modelId="{88CB99AA-FBF2-417C-A767-F4E1555C97E9}" type="sibTrans" cxnId="{41E2B85E-0744-4E2D-A02D-A17FD89CEFDB}">
      <dgm:prSet/>
      <dgm:spPr/>
      <dgm:t>
        <a:bodyPr/>
        <a:lstStyle/>
        <a:p>
          <a:endParaRPr lang="en-US"/>
        </a:p>
      </dgm:t>
    </dgm:pt>
    <dgm:pt modelId="{422D595B-561F-4112-9EF1-930A7E26718A}">
      <dgm:prSet/>
      <dgm:spPr/>
      <dgm:t>
        <a:bodyPr/>
        <a:lstStyle/>
        <a:p>
          <a:r>
            <a:rPr lang="en-US"/>
            <a:t>Vaccines Issued</a:t>
          </a:r>
          <a:endParaRPr lang="en-US" dirty="0"/>
        </a:p>
      </dgm:t>
    </dgm:pt>
    <dgm:pt modelId="{2FC0BEFF-F5C9-42AA-B9E2-055DF0EE9EEA}" type="parTrans" cxnId="{2A454DCA-E9B9-46C1-8EFD-30993C3807CD}">
      <dgm:prSet/>
      <dgm:spPr/>
      <dgm:t>
        <a:bodyPr/>
        <a:lstStyle/>
        <a:p>
          <a:endParaRPr lang="en-US"/>
        </a:p>
      </dgm:t>
    </dgm:pt>
    <dgm:pt modelId="{C5E66232-95E2-4F3C-916C-E3D95D8D78DD}" type="sibTrans" cxnId="{2A454DCA-E9B9-46C1-8EFD-30993C3807CD}">
      <dgm:prSet/>
      <dgm:spPr/>
      <dgm:t>
        <a:bodyPr/>
        <a:lstStyle/>
        <a:p>
          <a:endParaRPr lang="en-US"/>
        </a:p>
      </dgm:t>
    </dgm:pt>
    <dgm:pt modelId="{2D7C03CD-F0E9-4C43-8FBA-4433093F2AE2}" type="pres">
      <dgm:prSet presAssocID="{3CAC3357-79FA-4C32-A0DF-B833E258DF5B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C9B290AF-AE80-4491-AE95-04A558B057C8}" type="pres">
      <dgm:prSet presAssocID="{EDB383F9-9023-48AD-860F-59B4DE6B1482}" presName="Accent1" presStyleCnt="0"/>
      <dgm:spPr/>
    </dgm:pt>
    <dgm:pt modelId="{BF289885-7846-4148-BFC9-F0C158AC2433}" type="pres">
      <dgm:prSet presAssocID="{EDB383F9-9023-48AD-860F-59B4DE6B1482}" presName="Accent" presStyleLbl="node1" presStyleIdx="0" presStyleCnt="3"/>
      <dgm:spPr/>
    </dgm:pt>
    <dgm:pt modelId="{C787441F-FA94-4D22-9983-826F9761823F}" type="pres">
      <dgm:prSet presAssocID="{EDB383F9-9023-48AD-860F-59B4DE6B1482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93741FD-DC9C-4ABA-AC09-BE61B3FD336C}" type="pres">
      <dgm:prSet presAssocID="{58BBBF96-80D6-42F6-9A7E-9280FD442B3B}" presName="Accent2" presStyleCnt="0"/>
      <dgm:spPr/>
    </dgm:pt>
    <dgm:pt modelId="{B2F47EC1-ABE4-422C-B727-3CED64DDB598}" type="pres">
      <dgm:prSet presAssocID="{58BBBF96-80D6-42F6-9A7E-9280FD442B3B}" presName="Accent" presStyleLbl="node1" presStyleIdx="1" presStyleCnt="3"/>
      <dgm:spPr/>
    </dgm:pt>
    <dgm:pt modelId="{257485D2-C159-4BEF-B9D8-8D28B9097996}" type="pres">
      <dgm:prSet presAssocID="{58BBBF96-80D6-42F6-9A7E-9280FD442B3B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534E843-88CB-4DCC-9D0C-F1D4BB25807B}" type="pres">
      <dgm:prSet presAssocID="{422D595B-561F-4112-9EF1-930A7E26718A}" presName="Accent3" presStyleCnt="0"/>
      <dgm:spPr/>
    </dgm:pt>
    <dgm:pt modelId="{9D8DBEBB-DBBD-47ED-A5AC-F46B9C297990}" type="pres">
      <dgm:prSet presAssocID="{422D595B-561F-4112-9EF1-930A7E26718A}" presName="Accent" presStyleLbl="node1" presStyleIdx="2" presStyleCnt="3"/>
      <dgm:spPr/>
    </dgm:pt>
    <dgm:pt modelId="{8B43D582-BF31-4971-A038-66DC6649D7C7}" type="pres">
      <dgm:prSet presAssocID="{422D595B-561F-4112-9EF1-930A7E26718A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44E043B3-14F8-48E9-A877-2EE192EB9CBA}" srcId="{3CAC3357-79FA-4C32-A0DF-B833E258DF5B}" destId="{EDB383F9-9023-48AD-860F-59B4DE6B1482}" srcOrd="0" destOrd="0" parTransId="{0B52B3D5-1C43-462C-85BF-CF8F7C235CB6}" sibTransId="{88354F8A-8CD4-4ABE-B757-108B8342624F}"/>
    <dgm:cxn modelId="{2A454DCA-E9B9-46C1-8EFD-30993C3807CD}" srcId="{3CAC3357-79FA-4C32-A0DF-B833E258DF5B}" destId="{422D595B-561F-4112-9EF1-930A7E26718A}" srcOrd="2" destOrd="0" parTransId="{2FC0BEFF-F5C9-42AA-B9E2-055DF0EE9EEA}" sibTransId="{C5E66232-95E2-4F3C-916C-E3D95D8D78DD}"/>
    <dgm:cxn modelId="{2CEDF628-1DE2-49C7-BB6F-3A489BDD156F}" type="presOf" srcId="{3CAC3357-79FA-4C32-A0DF-B833E258DF5B}" destId="{2D7C03CD-F0E9-4C43-8FBA-4433093F2AE2}" srcOrd="0" destOrd="0" presId="urn:microsoft.com/office/officeart/2009/layout/CircleArrowProcess"/>
    <dgm:cxn modelId="{C743D31C-511C-4A79-97F6-2005D16D684E}" type="presOf" srcId="{EDB383F9-9023-48AD-860F-59B4DE6B1482}" destId="{C787441F-FA94-4D22-9983-826F9761823F}" srcOrd="0" destOrd="0" presId="urn:microsoft.com/office/officeart/2009/layout/CircleArrowProcess"/>
    <dgm:cxn modelId="{C7F89176-FE81-43E3-BE25-D16009E96D1F}" type="presOf" srcId="{422D595B-561F-4112-9EF1-930A7E26718A}" destId="{8B43D582-BF31-4971-A038-66DC6649D7C7}" srcOrd="0" destOrd="0" presId="urn:microsoft.com/office/officeart/2009/layout/CircleArrowProcess"/>
    <dgm:cxn modelId="{41E2B85E-0744-4E2D-A02D-A17FD89CEFDB}" srcId="{3CAC3357-79FA-4C32-A0DF-B833E258DF5B}" destId="{58BBBF96-80D6-42F6-9A7E-9280FD442B3B}" srcOrd="1" destOrd="0" parTransId="{9415D631-026C-44FB-ABA4-F8A59D1E8691}" sibTransId="{88CB99AA-FBF2-417C-A767-F4E1555C97E9}"/>
    <dgm:cxn modelId="{967AD26D-E789-4C60-9326-C023FC204BDE}" type="presOf" srcId="{58BBBF96-80D6-42F6-9A7E-9280FD442B3B}" destId="{257485D2-C159-4BEF-B9D8-8D28B9097996}" srcOrd="0" destOrd="0" presId="urn:microsoft.com/office/officeart/2009/layout/CircleArrowProcess"/>
    <dgm:cxn modelId="{6A2383E6-FABF-4BC1-95BA-50D31E38F8EF}" type="presParOf" srcId="{2D7C03CD-F0E9-4C43-8FBA-4433093F2AE2}" destId="{C9B290AF-AE80-4491-AE95-04A558B057C8}" srcOrd="0" destOrd="0" presId="urn:microsoft.com/office/officeart/2009/layout/CircleArrowProcess"/>
    <dgm:cxn modelId="{49C8EE0D-81B4-424A-BE10-B7B9511A53CB}" type="presParOf" srcId="{C9B290AF-AE80-4491-AE95-04A558B057C8}" destId="{BF289885-7846-4148-BFC9-F0C158AC2433}" srcOrd="0" destOrd="0" presId="urn:microsoft.com/office/officeart/2009/layout/CircleArrowProcess"/>
    <dgm:cxn modelId="{76903D70-24E3-4D8E-85CE-F0ABD9244A5F}" type="presParOf" srcId="{2D7C03CD-F0E9-4C43-8FBA-4433093F2AE2}" destId="{C787441F-FA94-4D22-9983-826F9761823F}" srcOrd="1" destOrd="0" presId="urn:microsoft.com/office/officeart/2009/layout/CircleArrowProcess"/>
    <dgm:cxn modelId="{1537A23D-A84D-4201-BF29-CBC32C1FEC13}" type="presParOf" srcId="{2D7C03CD-F0E9-4C43-8FBA-4433093F2AE2}" destId="{793741FD-DC9C-4ABA-AC09-BE61B3FD336C}" srcOrd="2" destOrd="0" presId="urn:microsoft.com/office/officeart/2009/layout/CircleArrowProcess"/>
    <dgm:cxn modelId="{81DC65C2-128E-4609-A989-4AFDAE9F98E4}" type="presParOf" srcId="{793741FD-DC9C-4ABA-AC09-BE61B3FD336C}" destId="{B2F47EC1-ABE4-422C-B727-3CED64DDB598}" srcOrd="0" destOrd="0" presId="urn:microsoft.com/office/officeart/2009/layout/CircleArrowProcess"/>
    <dgm:cxn modelId="{68B6D1E4-CF58-4101-A7BB-6658172D4B85}" type="presParOf" srcId="{2D7C03CD-F0E9-4C43-8FBA-4433093F2AE2}" destId="{257485D2-C159-4BEF-B9D8-8D28B9097996}" srcOrd="3" destOrd="0" presId="urn:microsoft.com/office/officeart/2009/layout/CircleArrowProcess"/>
    <dgm:cxn modelId="{F5CE395E-DF80-4DC7-84FB-D4C43276F736}" type="presParOf" srcId="{2D7C03CD-F0E9-4C43-8FBA-4433093F2AE2}" destId="{7534E843-88CB-4DCC-9D0C-F1D4BB25807B}" srcOrd="4" destOrd="0" presId="urn:microsoft.com/office/officeart/2009/layout/CircleArrowProcess"/>
    <dgm:cxn modelId="{19639D41-AAD1-4473-8AB4-EE102655A7DA}" type="presParOf" srcId="{7534E843-88CB-4DCC-9D0C-F1D4BB25807B}" destId="{9D8DBEBB-DBBD-47ED-A5AC-F46B9C297990}" srcOrd="0" destOrd="0" presId="urn:microsoft.com/office/officeart/2009/layout/CircleArrowProcess"/>
    <dgm:cxn modelId="{46FBD656-D81D-4FE9-8047-F0227E2FA8D2}" type="presParOf" srcId="{2D7C03CD-F0E9-4C43-8FBA-4433093F2AE2}" destId="{8B43D582-BF31-4971-A038-66DC6649D7C7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xmlns="" relId="rId2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3CAC3357-79FA-4C32-A0DF-B833E258DF5B}" type="doc">
      <dgm:prSet loTypeId="urn:microsoft.com/office/officeart/2005/8/layout/process4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DB383F9-9023-48AD-860F-59B4DE6B1482}">
      <dgm:prSet phldrT="[Text]"/>
      <dgm:spPr/>
      <dgm:t>
        <a:bodyPr/>
        <a:lstStyle/>
        <a:p>
          <a:r>
            <a:rPr lang="en-US" dirty="0"/>
            <a:t>Total Sites</a:t>
          </a:r>
        </a:p>
      </dgm:t>
    </dgm:pt>
    <dgm:pt modelId="{0B52B3D5-1C43-462C-85BF-CF8F7C235CB6}" type="parTrans" cxnId="{44E043B3-14F8-48E9-A877-2EE192EB9CBA}">
      <dgm:prSet/>
      <dgm:spPr/>
      <dgm:t>
        <a:bodyPr/>
        <a:lstStyle/>
        <a:p>
          <a:endParaRPr lang="en-US"/>
        </a:p>
      </dgm:t>
    </dgm:pt>
    <dgm:pt modelId="{88354F8A-8CD4-4ABE-B757-108B8342624F}" type="sibTrans" cxnId="{44E043B3-14F8-48E9-A877-2EE192EB9CBA}">
      <dgm:prSet/>
      <dgm:spPr/>
      <dgm:t>
        <a:bodyPr/>
        <a:lstStyle/>
        <a:p>
          <a:endParaRPr lang="en-US"/>
        </a:p>
      </dgm:t>
    </dgm:pt>
    <dgm:pt modelId="{8F851BCB-D4AB-41D6-90A1-C6366B090DD1}">
      <dgm:prSet phldrT="[Text]"/>
      <dgm:spPr/>
      <dgm:t>
        <a:bodyPr/>
        <a:lstStyle/>
        <a:p>
          <a:r>
            <a:rPr lang="en-US" dirty="0"/>
            <a:t>Active</a:t>
          </a:r>
        </a:p>
      </dgm:t>
    </dgm:pt>
    <dgm:pt modelId="{AECBDCE2-DB6F-4094-832C-CA75911294CA}" type="parTrans" cxnId="{2CB3EC1B-3D70-4FE8-9832-29332837297B}">
      <dgm:prSet/>
      <dgm:spPr/>
      <dgm:t>
        <a:bodyPr/>
        <a:lstStyle/>
        <a:p>
          <a:endParaRPr lang="en-US"/>
        </a:p>
      </dgm:t>
    </dgm:pt>
    <dgm:pt modelId="{8A8DEDD9-3D3A-4B20-8D0C-BCD063BB168F}" type="sibTrans" cxnId="{2CB3EC1B-3D70-4FE8-9832-29332837297B}">
      <dgm:prSet/>
      <dgm:spPr/>
      <dgm:t>
        <a:bodyPr/>
        <a:lstStyle/>
        <a:p>
          <a:endParaRPr lang="en-US"/>
        </a:p>
      </dgm:t>
    </dgm:pt>
    <dgm:pt modelId="{888442DB-3437-4ED4-B40A-404C606B2479}">
      <dgm:prSet phldrT="[Text]"/>
      <dgm:spPr/>
      <dgm:t>
        <a:bodyPr/>
        <a:lstStyle/>
        <a:p>
          <a:r>
            <a:rPr lang="en-US" dirty="0"/>
            <a:t>Inactive</a:t>
          </a:r>
        </a:p>
      </dgm:t>
    </dgm:pt>
    <dgm:pt modelId="{CACC97EB-25D4-4306-8683-7C36B3B45AE3}" type="parTrans" cxnId="{722A8617-0F3C-4CCF-946B-7D391393517A}">
      <dgm:prSet/>
      <dgm:spPr/>
      <dgm:t>
        <a:bodyPr/>
        <a:lstStyle/>
        <a:p>
          <a:endParaRPr lang="en-US"/>
        </a:p>
      </dgm:t>
    </dgm:pt>
    <dgm:pt modelId="{F0E55468-2178-4129-AD06-CEEEAE18898A}" type="sibTrans" cxnId="{722A8617-0F3C-4CCF-946B-7D391393517A}">
      <dgm:prSet/>
      <dgm:spPr/>
      <dgm:t>
        <a:bodyPr/>
        <a:lstStyle/>
        <a:p>
          <a:endParaRPr lang="en-US"/>
        </a:p>
      </dgm:t>
    </dgm:pt>
    <dgm:pt modelId="{4E79CF0C-9582-4641-9F60-3C39C8D984C6}" type="pres">
      <dgm:prSet presAssocID="{3CAC3357-79FA-4C32-A0DF-B833E258DF5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1909A0CD-0F73-42DE-8232-06DC14DFE44A}" type="pres">
      <dgm:prSet presAssocID="{EDB383F9-9023-48AD-860F-59B4DE6B1482}" presName="boxAndChildren" presStyleCnt="0"/>
      <dgm:spPr/>
    </dgm:pt>
    <dgm:pt modelId="{B0EBF679-234F-45E0-B367-055A5E1921FF}" type="pres">
      <dgm:prSet presAssocID="{EDB383F9-9023-48AD-860F-59B4DE6B1482}" presName="parentTextBox" presStyleLbl="node1" presStyleIdx="0" presStyleCnt="1"/>
      <dgm:spPr/>
      <dgm:t>
        <a:bodyPr/>
        <a:lstStyle/>
        <a:p>
          <a:endParaRPr lang="en-ZA"/>
        </a:p>
      </dgm:t>
    </dgm:pt>
    <dgm:pt modelId="{3FB3C6C7-B288-4938-BF83-B1C61EE979C3}" type="pres">
      <dgm:prSet presAssocID="{EDB383F9-9023-48AD-860F-59B4DE6B1482}" presName="entireBox" presStyleLbl="node1" presStyleIdx="0" presStyleCnt="1" custLinFactNeighborX="407" custLinFactNeighborY="-38884"/>
      <dgm:spPr/>
      <dgm:t>
        <a:bodyPr/>
        <a:lstStyle/>
        <a:p>
          <a:endParaRPr lang="en-ZA"/>
        </a:p>
      </dgm:t>
    </dgm:pt>
    <dgm:pt modelId="{30FEB1B6-D2EA-43E1-B40F-4DE0204D7F84}" type="pres">
      <dgm:prSet presAssocID="{EDB383F9-9023-48AD-860F-59B4DE6B1482}" presName="descendantBox" presStyleCnt="0"/>
      <dgm:spPr/>
    </dgm:pt>
    <dgm:pt modelId="{12655F44-C2CB-4319-98C9-76E3B7E4BCEB}" type="pres">
      <dgm:prSet presAssocID="{8F851BCB-D4AB-41D6-90A1-C6366B090DD1}" presName="childTextBox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6995133-FB9F-44BE-81F1-EDB41ED7AD88}" type="pres">
      <dgm:prSet presAssocID="{888442DB-3437-4ED4-B40A-404C606B2479}" presName="childTextBox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44E043B3-14F8-48E9-A877-2EE192EB9CBA}" srcId="{3CAC3357-79FA-4C32-A0DF-B833E258DF5B}" destId="{EDB383F9-9023-48AD-860F-59B4DE6B1482}" srcOrd="0" destOrd="0" parTransId="{0B52B3D5-1C43-462C-85BF-CF8F7C235CB6}" sibTransId="{88354F8A-8CD4-4ABE-B757-108B8342624F}"/>
    <dgm:cxn modelId="{1FDCE8DA-F5A0-455B-B84D-F2A7EC3DB30A}" type="presOf" srcId="{EDB383F9-9023-48AD-860F-59B4DE6B1482}" destId="{3FB3C6C7-B288-4938-BF83-B1C61EE979C3}" srcOrd="1" destOrd="0" presId="urn:microsoft.com/office/officeart/2005/8/layout/process4"/>
    <dgm:cxn modelId="{F36CD449-4456-4D50-BA54-EDE7D516B3AF}" type="presOf" srcId="{8F851BCB-D4AB-41D6-90A1-C6366B090DD1}" destId="{12655F44-C2CB-4319-98C9-76E3B7E4BCEB}" srcOrd="0" destOrd="0" presId="urn:microsoft.com/office/officeart/2005/8/layout/process4"/>
    <dgm:cxn modelId="{FCF839D6-3A56-43DA-94BC-EFB101D5DAE9}" type="presOf" srcId="{888442DB-3437-4ED4-B40A-404C606B2479}" destId="{96995133-FB9F-44BE-81F1-EDB41ED7AD88}" srcOrd="0" destOrd="0" presId="urn:microsoft.com/office/officeart/2005/8/layout/process4"/>
    <dgm:cxn modelId="{2CB3EC1B-3D70-4FE8-9832-29332837297B}" srcId="{EDB383F9-9023-48AD-860F-59B4DE6B1482}" destId="{8F851BCB-D4AB-41D6-90A1-C6366B090DD1}" srcOrd="0" destOrd="0" parTransId="{AECBDCE2-DB6F-4094-832C-CA75911294CA}" sibTransId="{8A8DEDD9-3D3A-4B20-8D0C-BCD063BB168F}"/>
    <dgm:cxn modelId="{523D941C-3275-4499-9FA8-0AC62FF67DB4}" type="presOf" srcId="{EDB383F9-9023-48AD-860F-59B4DE6B1482}" destId="{B0EBF679-234F-45E0-B367-055A5E1921FF}" srcOrd="0" destOrd="0" presId="urn:microsoft.com/office/officeart/2005/8/layout/process4"/>
    <dgm:cxn modelId="{722A8617-0F3C-4CCF-946B-7D391393517A}" srcId="{EDB383F9-9023-48AD-860F-59B4DE6B1482}" destId="{888442DB-3437-4ED4-B40A-404C606B2479}" srcOrd="1" destOrd="0" parTransId="{CACC97EB-25D4-4306-8683-7C36B3B45AE3}" sibTransId="{F0E55468-2178-4129-AD06-CEEEAE18898A}"/>
    <dgm:cxn modelId="{94A66740-A174-41E2-8D48-FA89AED99379}" type="presOf" srcId="{3CAC3357-79FA-4C32-A0DF-B833E258DF5B}" destId="{4E79CF0C-9582-4641-9F60-3C39C8D984C6}" srcOrd="0" destOrd="0" presId="urn:microsoft.com/office/officeart/2005/8/layout/process4"/>
    <dgm:cxn modelId="{1D3BBA2E-0644-4354-BE88-210C277A2316}" type="presParOf" srcId="{4E79CF0C-9582-4641-9F60-3C39C8D984C6}" destId="{1909A0CD-0F73-42DE-8232-06DC14DFE44A}" srcOrd="0" destOrd="0" presId="urn:microsoft.com/office/officeart/2005/8/layout/process4"/>
    <dgm:cxn modelId="{C329BE97-EF0B-49E2-94B0-7A7A3C6338A7}" type="presParOf" srcId="{1909A0CD-0F73-42DE-8232-06DC14DFE44A}" destId="{B0EBF679-234F-45E0-B367-055A5E1921FF}" srcOrd="0" destOrd="0" presId="urn:microsoft.com/office/officeart/2005/8/layout/process4"/>
    <dgm:cxn modelId="{049607D4-B702-46BE-BD89-AA4E1A6D16F6}" type="presParOf" srcId="{1909A0CD-0F73-42DE-8232-06DC14DFE44A}" destId="{3FB3C6C7-B288-4938-BF83-B1C61EE979C3}" srcOrd="1" destOrd="0" presId="urn:microsoft.com/office/officeart/2005/8/layout/process4"/>
    <dgm:cxn modelId="{8B1E342C-2959-4036-803A-79E2CFB695F9}" type="presParOf" srcId="{1909A0CD-0F73-42DE-8232-06DC14DFE44A}" destId="{30FEB1B6-D2EA-43E1-B40F-4DE0204D7F84}" srcOrd="2" destOrd="0" presId="urn:microsoft.com/office/officeart/2005/8/layout/process4"/>
    <dgm:cxn modelId="{1471AEB2-8A13-46A8-A206-471E0E5E6167}" type="presParOf" srcId="{30FEB1B6-D2EA-43E1-B40F-4DE0204D7F84}" destId="{12655F44-C2CB-4319-98C9-76E3B7E4BCEB}" srcOrd="0" destOrd="0" presId="urn:microsoft.com/office/officeart/2005/8/layout/process4"/>
    <dgm:cxn modelId="{D7D100C1-186F-4C31-910D-E28026BD321E}" type="presParOf" srcId="{30FEB1B6-D2EA-43E1-B40F-4DE0204D7F84}" destId="{96995133-FB9F-44BE-81F1-EDB41ED7AD88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xmlns="" relId="rId2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29C73CA-40DA-4498-828E-92856BB8BCF4}">
      <dsp:nvSpPr>
        <dsp:cNvPr id="0" name=""/>
        <dsp:cNvSpPr/>
      </dsp:nvSpPr>
      <dsp:spPr>
        <a:xfrm>
          <a:off x="0" y="1324172"/>
          <a:ext cx="2740518" cy="2614139"/>
        </a:xfrm>
        <a:prstGeom prst="ellipse">
          <a:avLst/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2065" tIns="26670" rIns="222065" bIns="26670" numCol="1" spcCol="1270" anchor="ctr" anchorCtr="1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/>
            <a:t>Wave 1</a:t>
          </a:r>
          <a:r>
            <a:rPr lang="en-US" sz="2100" kern="1200" dirty="0"/>
            <a:t>: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/>
            <a:t>1681 (acute and intermediate care beds)</a:t>
          </a:r>
        </a:p>
      </dsp:txBody>
      <dsp:txXfrm>
        <a:off x="0" y="1324172"/>
        <a:ext cx="2740518" cy="2614139"/>
      </dsp:txXfrm>
    </dsp:sp>
    <dsp:sp modelId="{C51B9CA8-53BF-4618-A8BF-1ECF57FCCBC9}">
      <dsp:nvSpPr>
        <dsp:cNvPr id="0" name=""/>
        <dsp:cNvSpPr/>
      </dsp:nvSpPr>
      <dsp:spPr>
        <a:xfrm>
          <a:off x="1936127" y="867741"/>
          <a:ext cx="3504605" cy="3545642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2065" tIns="35560" rIns="222065" bIns="35560" numCol="1" spcCol="1270" anchor="ctr" anchorCtr="1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/>
            <a:t>Wave 2</a:t>
          </a:r>
          <a:r>
            <a:rPr lang="en-US" sz="2800" kern="1200" dirty="0"/>
            <a:t>: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/>
            <a:t>2330    </a:t>
          </a:r>
          <a:r>
            <a:rPr lang="en-US" sz="2000" kern="1200" dirty="0"/>
            <a:t>(acute and intermediate care beds)</a:t>
          </a:r>
          <a:endParaRPr lang="en-US" sz="2400" kern="1200" dirty="0"/>
        </a:p>
      </dsp:txBody>
      <dsp:txXfrm>
        <a:off x="1936127" y="867741"/>
        <a:ext cx="3504605" cy="3545642"/>
      </dsp:txXfrm>
    </dsp:sp>
    <dsp:sp modelId="{D2F54D84-90F5-4F72-91E2-C692E2BAD9EF}">
      <dsp:nvSpPr>
        <dsp:cNvPr id="0" name=""/>
        <dsp:cNvSpPr/>
      </dsp:nvSpPr>
      <dsp:spPr>
        <a:xfrm>
          <a:off x="4633713" y="623013"/>
          <a:ext cx="4035099" cy="4035099"/>
        </a:xfrm>
        <a:prstGeom prst="ellipse">
          <a:avLst/>
        </a:prstGeom>
        <a:solidFill>
          <a:schemeClr val="accent6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2065" tIns="40640" rIns="222065" bIns="40640" numCol="1" spcCol="1270" anchor="ctr" anchorCtr="1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kern="1200" dirty="0"/>
            <a:t>Wave 3</a:t>
          </a:r>
          <a:r>
            <a:rPr lang="en-US" sz="3200" kern="1200" dirty="0"/>
            <a:t>: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/>
            <a:t>2690 (+/-90) </a:t>
          </a:r>
          <a:r>
            <a:rPr lang="en-US" sz="2400" kern="1200" dirty="0"/>
            <a:t>(acute and intermediate care beds)</a:t>
          </a:r>
          <a:endParaRPr lang="en-US" sz="2800" kern="1200" dirty="0"/>
        </a:p>
      </dsp:txBody>
      <dsp:txXfrm>
        <a:off x="4633713" y="623013"/>
        <a:ext cx="4035099" cy="4035099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29C73CA-40DA-4498-828E-92856BB8BCF4}">
      <dsp:nvSpPr>
        <dsp:cNvPr id="0" name=""/>
        <dsp:cNvSpPr/>
      </dsp:nvSpPr>
      <dsp:spPr>
        <a:xfrm>
          <a:off x="2629" y="1333493"/>
          <a:ext cx="2740518" cy="2614139"/>
        </a:xfrm>
        <a:prstGeom prst="ellipse">
          <a:avLst/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2065" tIns="29210" rIns="222065" bIns="29210" numCol="1" spcCol="1270" anchor="ctr" anchorCtr="1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/>
            <a:t>Wave 1</a:t>
          </a:r>
          <a:r>
            <a:rPr lang="en-US" sz="2300" kern="1200" dirty="0"/>
            <a:t>: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/>
            <a:t>266 (Ventilation + HFNO)</a:t>
          </a:r>
        </a:p>
      </dsp:txBody>
      <dsp:txXfrm>
        <a:off x="2629" y="1333493"/>
        <a:ext cx="2740518" cy="2614139"/>
      </dsp:txXfrm>
    </dsp:sp>
    <dsp:sp modelId="{C51B9CA8-53BF-4618-A8BF-1ECF57FCCBC9}">
      <dsp:nvSpPr>
        <dsp:cNvPr id="0" name=""/>
        <dsp:cNvSpPr/>
      </dsp:nvSpPr>
      <dsp:spPr>
        <a:xfrm>
          <a:off x="1936127" y="867741"/>
          <a:ext cx="3504605" cy="3545642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2065" tIns="35560" rIns="222065" bIns="35560" numCol="1" spcCol="1270" anchor="ctr" anchorCtr="1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/>
            <a:t>Wave 2</a:t>
          </a:r>
          <a:r>
            <a:rPr lang="en-US" sz="2800" kern="1200" dirty="0"/>
            <a:t>: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/>
            <a:t>378 (Ventilation + HFNO)</a:t>
          </a:r>
        </a:p>
      </dsp:txBody>
      <dsp:txXfrm>
        <a:off x="1936127" y="867741"/>
        <a:ext cx="3504605" cy="3545642"/>
      </dsp:txXfrm>
    </dsp:sp>
    <dsp:sp modelId="{D2F54D84-90F5-4F72-91E2-C692E2BAD9EF}">
      <dsp:nvSpPr>
        <dsp:cNvPr id="0" name=""/>
        <dsp:cNvSpPr/>
      </dsp:nvSpPr>
      <dsp:spPr>
        <a:xfrm>
          <a:off x="4633713" y="623013"/>
          <a:ext cx="4035099" cy="4035099"/>
        </a:xfrm>
        <a:prstGeom prst="ellipse">
          <a:avLst/>
        </a:prstGeom>
        <a:solidFill>
          <a:schemeClr val="accent6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2065" tIns="40640" rIns="222065" bIns="40640" numCol="1" spcCol="1270" anchor="ctr" anchorCtr="1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kern="1200" dirty="0"/>
            <a:t>Wave 3</a:t>
          </a:r>
          <a:r>
            <a:rPr lang="en-US" sz="3200" kern="1200" dirty="0"/>
            <a:t>: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800" kern="1200" dirty="0"/>
            <a:t>420 (Ventilation + HFNO)</a:t>
          </a:r>
        </a:p>
      </dsp:txBody>
      <dsp:txXfrm>
        <a:off x="4633713" y="623013"/>
        <a:ext cx="4035099" cy="4035099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29C73CA-40DA-4498-828E-92856BB8BCF4}">
      <dsp:nvSpPr>
        <dsp:cNvPr id="0" name=""/>
        <dsp:cNvSpPr/>
      </dsp:nvSpPr>
      <dsp:spPr>
        <a:xfrm>
          <a:off x="2629" y="1333493"/>
          <a:ext cx="2740518" cy="2614139"/>
        </a:xfrm>
        <a:prstGeom prst="ellipse">
          <a:avLst/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2065" tIns="30480" rIns="222065" bIns="30480" numCol="1" spcCol="1270" anchor="ctr" anchorCtr="1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/>
            <a:t>Wave 1</a:t>
          </a:r>
          <a:r>
            <a:rPr lang="en-US" sz="2400" kern="1200" dirty="0"/>
            <a:t>: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/>
            <a:t>844 (Additional staff capacity)</a:t>
          </a:r>
        </a:p>
      </dsp:txBody>
      <dsp:txXfrm>
        <a:off x="2629" y="1333493"/>
        <a:ext cx="2740518" cy="2614139"/>
      </dsp:txXfrm>
    </dsp:sp>
    <dsp:sp modelId="{C51B9CA8-53BF-4618-A8BF-1ECF57FCCBC9}">
      <dsp:nvSpPr>
        <dsp:cNvPr id="0" name=""/>
        <dsp:cNvSpPr/>
      </dsp:nvSpPr>
      <dsp:spPr>
        <a:xfrm>
          <a:off x="1936127" y="867741"/>
          <a:ext cx="3504605" cy="3545642"/>
        </a:xfrm>
        <a:prstGeom prst="ellipse">
          <a:avLst/>
        </a:prstGeom>
        <a:solidFill>
          <a:schemeClr val="bg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2065" tIns="35560" rIns="222065" bIns="35560" numCol="1" spcCol="1270" anchor="ctr" anchorCtr="1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dirty="0"/>
            <a:t>Wave 2</a:t>
          </a:r>
          <a:r>
            <a:rPr lang="en-US" sz="2800" kern="1200" dirty="0"/>
            <a:t>: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/>
            <a:t>1117  (Additional staff capacity)</a:t>
          </a:r>
        </a:p>
      </dsp:txBody>
      <dsp:txXfrm>
        <a:off x="1936127" y="867741"/>
        <a:ext cx="3504605" cy="3545642"/>
      </dsp:txXfrm>
    </dsp:sp>
    <dsp:sp modelId="{D2F54D84-90F5-4F72-91E2-C692E2BAD9EF}">
      <dsp:nvSpPr>
        <dsp:cNvPr id="0" name=""/>
        <dsp:cNvSpPr/>
      </dsp:nvSpPr>
      <dsp:spPr>
        <a:xfrm>
          <a:off x="4633713" y="623013"/>
          <a:ext cx="4035099" cy="4035099"/>
        </a:xfrm>
        <a:prstGeom prst="ellipse">
          <a:avLst/>
        </a:prstGeom>
        <a:solidFill>
          <a:schemeClr val="accent6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2065" tIns="40640" rIns="222065" bIns="40640" numCol="1" spcCol="1270" anchor="ctr" anchorCtr="1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b="1" kern="1200" dirty="0"/>
            <a:t>Wave 3</a:t>
          </a:r>
          <a:r>
            <a:rPr lang="en-US" sz="3200" kern="1200" dirty="0"/>
            <a:t>: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/>
            <a:t>Wave 2 capacity retained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/>
            <a:t>775 added, with 765 still  available for appointment if required) </a:t>
          </a:r>
        </a:p>
      </dsp:txBody>
      <dsp:txXfrm>
        <a:off x="4633713" y="623013"/>
        <a:ext cx="4035099" cy="4035099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0F573CA-CD81-4C67-BEFB-89245C9AAE9C}">
      <dsp:nvSpPr>
        <dsp:cNvPr id="0" name=""/>
        <dsp:cNvSpPr/>
      </dsp:nvSpPr>
      <dsp:spPr>
        <a:xfrm>
          <a:off x="0" y="590465"/>
          <a:ext cx="2664295" cy="2131436"/>
        </a:xfrm>
        <a:prstGeom prst="homePlate">
          <a:avLst>
            <a:gd name="adj" fmla="val 25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3990" tIns="35560" rIns="375962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/>
            <a:t>Phase I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b="1" kern="1200" dirty="0"/>
            <a:t>Health Care Workers :</a:t>
          </a:r>
          <a:endParaRPr lang="en-US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Public &amp; Private Health Sectors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Care Workers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CHWs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Health Science students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kern="1200" dirty="0"/>
            <a:t>Traditional Healers</a:t>
          </a:r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1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b="1" kern="1200">
              <a:solidFill>
                <a:schemeClr val="tx1"/>
              </a:solidFill>
            </a:rPr>
            <a:t>Estimated target:</a:t>
          </a:r>
          <a:endParaRPr lang="en-GB" sz="1100" kern="1200" dirty="0"/>
        </a:p>
        <a:p>
          <a:pPr marL="114300" lvl="2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100" b="1" kern="1200">
              <a:solidFill>
                <a:schemeClr val="tx1"/>
              </a:solidFill>
            </a:rPr>
            <a:t> 132 000</a:t>
          </a:r>
          <a:endParaRPr lang="en-GB" sz="1100" kern="1200" dirty="0"/>
        </a:p>
      </dsp:txBody>
      <dsp:txXfrm>
        <a:off x="0" y="590465"/>
        <a:ext cx="2664295" cy="2131436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5" y="0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23/07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8823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5" y="9378823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5" y="0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21/07/23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690269"/>
            <a:ext cx="548640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5" y="9378823"/>
            <a:ext cx="29718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3500321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AF98F-2F33-4C62-AD3D-4006E07D21AA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317161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494284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ext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b="1" dirty="0"/>
              <a:t>textbox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textbox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textbox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textbox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textbox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% Recovere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% Die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% Active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Doctors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Nurse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Radiographers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Pharmacists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Other categories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textbox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textbox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textbox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Gender Distribution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image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ar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ar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ar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umulative Infections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ar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ar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image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ar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image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ar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ard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clusteredColumnChart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textbox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  <a:p>
            <a:r>
              <a:rPr b="1" dirty="0"/>
              <a:t>Active Cases</a:t>
            </a:r>
            <a:endParaRPr dirty="0"/>
          </a:p>
          <a:p>
            <a:r>
              <a:rPr b="0" dirty="0"/>
              <a:t>No alt text provided.</a:t>
            </a:r>
            <a:endParaRPr dirty="0"/>
          </a:p>
          <a:p>
            <a:endParaRPr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10037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795 </a:t>
            </a:r>
            <a:r>
              <a:rPr lang="en-US" dirty="0"/>
              <a:t>beds are included in the IC and Acute care </a:t>
            </a:r>
            <a:r>
              <a:rPr lang="en-US"/>
              <a:t>bed numb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AF98F-2F33-4C62-AD3D-4006E07D21AA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074391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795 </a:t>
            </a:r>
            <a:r>
              <a:rPr lang="en-US" dirty="0"/>
              <a:t>beds are included in the IC and Acute care </a:t>
            </a:r>
            <a:r>
              <a:rPr lang="en-US"/>
              <a:t>bed numb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AF98F-2F33-4C62-AD3D-4006E07D21AA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07439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795 </a:t>
            </a:r>
            <a:r>
              <a:rPr lang="en-US" dirty="0"/>
              <a:t>beds are included in the IC and Acute care </a:t>
            </a:r>
            <a:r>
              <a:rPr lang="en-US"/>
              <a:t>bed numb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AF98F-2F33-4C62-AD3D-4006E07D21AA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21659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795 </a:t>
            </a:r>
            <a:r>
              <a:rPr lang="en-US" dirty="0"/>
              <a:t>beds are included in the IC and Acute care </a:t>
            </a:r>
            <a:r>
              <a:rPr lang="en-US"/>
              <a:t>bed numb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AF98F-2F33-4C62-AD3D-4006E07D21AA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272787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89883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6690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" name="Google Shape;38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1241425"/>
            <a:ext cx="4467225" cy="33512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0" name="Google Shape;390;p5:notes"/>
          <p:cNvSpPr txBox="1">
            <a:spLocks noGrp="1"/>
          </p:cNvSpPr>
          <p:nvPr>
            <p:ph type="body" idx="1"/>
          </p:nvPr>
        </p:nvSpPr>
        <p:spPr>
          <a:xfrm>
            <a:off x="678971" y="4779880"/>
            <a:ext cx="5436560" cy="39094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91" name="Google Shape;391;p5:notes"/>
          <p:cNvSpPr txBox="1">
            <a:spLocks noGrp="1"/>
          </p:cNvSpPr>
          <p:nvPr>
            <p:ph type="sldNum" idx="12"/>
          </p:nvPr>
        </p:nvSpPr>
        <p:spPr>
          <a:xfrm>
            <a:off x="3848029" y="9434266"/>
            <a:ext cx="2944870" cy="497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6</a:t>
            </a:fld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30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15118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A1D994-7E51-44C9-9E90-4030A13D82E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53537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Suggest omitting – there is really not much new data and remains predominantly del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5891460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A1D994-7E51-44C9-9E90-4030A13D82E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29684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795 </a:t>
            </a:r>
            <a:r>
              <a:rPr lang="en-US" dirty="0"/>
              <a:t>beds are included in the IC and Acute care </a:t>
            </a:r>
            <a:r>
              <a:rPr lang="en-US"/>
              <a:t>bed numb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AF98F-2F33-4C62-AD3D-4006E07D21AA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93496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795 </a:t>
            </a:r>
            <a:r>
              <a:rPr lang="en-US" dirty="0"/>
              <a:t>beds are included in the IC and Acute care </a:t>
            </a:r>
            <a:r>
              <a:rPr lang="en-US"/>
              <a:t>bed numb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AF98F-2F33-4C62-AD3D-4006E07D21AA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28558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795 </a:t>
            </a:r>
            <a:r>
              <a:rPr lang="en-US" dirty="0"/>
              <a:t>beds are included in the IC and Acute care </a:t>
            </a:r>
            <a:r>
              <a:rPr lang="en-US"/>
              <a:t>bed numb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DAF98F-2F33-4C62-AD3D-4006E07D21AA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9432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2.xml"/><Relationship Id="rId1" Type="http://schemas.openxmlformats.org/officeDocument/2006/relationships/tags" Target="../tags/tag19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4.xml"/><Relationship Id="rId1" Type="http://schemas.openxmlformats.org/officeDocument/2006/relationships/tags" Target="../tags/tag19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6.xml"/><Relationship Id="rId1" Type="http://schemas.openxmlformats.org/officeDocument/2006/relationships/tags" Target="../tags/tag19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8.xml"/><Relationship Id="rId1" Type="http://schemas.openxmlformats.org/officeDocument/2006/relationships/tags" Target="../tags/tag19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0.xml"/><Relationship Id="rId1" Type="http://schemas.openxmlformats.org/officeDocument/2006/relationships/tags" Target="../tags/tag19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2.xml"/><Relationship Id="rId1" Type="http://schemas.openxmlformats.org/officeDocument/2006/relationships/tags" Target="../tags/tag20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4.xml"/><Relationship Id="rId1" Type="http://schemas.openxmlformats.org/officeDocument/2006/relationships/tags" Target="../tags/tag20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6.xml"/><Relationship Id="rId1" Type="http://schemas.openxmlformats.org/officeDocument/2006/relationships/tags" Target="../tags/tag20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8.xml"/><Relationship Id="rId1" Type="http://schemas.openxmlformats.org/officeDocument/2006/relationships/tags" Target="../tags/tag20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0.xml"/><Relationship Id="rId1" Type="http://schemas.openxmlformats.org/officeDocument/2006/relationships/tags" Target="../tags/tag20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2.xml"/><Relationship Id="rId1" Type="http://schemas.openxmlformats.org/officeDocument/2006/relationships/tags" Target="../tags/tag21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4.xml"/><Relationship Id="rId1" Type="http://schemas.openxmlformats.org/officeDocument/2006/relationships/tags" Target="../tags/tag21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6.xml"/><Relationship Id="rId1" Type="http://schemas.openxmlformats.org/officeDocument/2006/relationships/tags" Target="../tags/tag21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8.xml"/><Relationship Id="rId1" Type="http://schemas.openxmlformats.org/officeDocument/2006/relationships/tags" Target="../tags/tag21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0.xml"/><Relationship Id="rId1" Type="http://schemas.openxmlformats.org/officeDocument/2006/relationships/tags" Target="../tags/tag219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2.xml"/><Relationship Id="rId1" Type="http://schemas.openxmlformats.org/officeDocument/2006/relationships/tags" Target="../tags/tag22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4.xml"/><Relationship Id="rId1" Type="http://schemas.openxmlformats.org/officeDocument/2006/relationships/tags" Target="../tags/tag22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6.xml"/><Relationship Id="rId1" Type="http://schemas.openxmlformats.org/officeDocument/2006/relationships/tags" Target="../tags/tag22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1.xml"/><Relationship Id="rId1" Type="http://schemas.openxmlformats.org/officeDocument/2006/relationships/tags" Target="../tags/tag230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3.xml"/><Relationship Id="rId1" Type="http://schemas.openxmlformats.org/officeDocument/2006/relationships/tags" Target="../tags/tag23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5.xml"/><Relationship Id="rId1" Type="http://schemas.openxmlformats.org/officeDocument/2006/relationships/tags" Target="../tags/tag23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7.xml"/><Relationship Id="rId1" Type="http://schemas.openxmlformats.org/officeDocument/2006/relationships/tags" Target="../tags/tag23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9.xml"/><Relationship Id="rId1" Type="http://schemas.openxmlformats.org/officeDocument/2006/relationships/tags" Target="../tags/tag23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1.xml"/><Relationship Id="rId1" Type="http://schemas.openxmlformats.org/officeDocument/2006/relationships/tags" Target="../tags/tag240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3.xml"/><Relationship Id="rId1" Type="http://schemas.openxmlformats.org/officeDocument/2006/relationships/tags" Target="../tags/tag24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5.xml"/><Relationship Id="rId1" Type="http://schemas.openxmlformats.org/officeDocument/2006/relationships/tags" Target="../tags/tag24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7.xml"/><Relationship Id="rId1" Type="http://schemas.openxmlformats.org/officeDocument/2006/relationships/tags" Target="../tags/tag24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9.xml"/><Relationship Id="rId1" Type="http://schemas.openxmlformats.org/officeDocument/2006/relationships/tags" Target="../tags/tag24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1.xml"/><Relationship Id="rId1" Type="http://schemas.openxmlformats.org/officeDocument/2006/relationships/tags" Target="../tags/tag250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3.xml"/><Relationship Id="rId1" Type="http://schemas.openxmlformats.org/officeDocument/2006/relationships/tags" Target="../tags/tag25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5.xml"/><Relationship Id="rId1" Type="http://schemas.openxmlformats.org/officeDocument/2006/relationships/tags" Target="../tags/tag254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7.xml"/><Relationship Id="rId1" Type="http://schemas.openxmlformats.org/officeDocument/2006/relationships/tags" Target="../tags/tag25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9.xml"/><Relationship Id="rId1" Type="http://schemas.openxmlformats.org/officeDocument/2006/relationships/tags" Target="../tags/tag258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1.xml"/><Relationship Id="rId1" Type="http://schemas.openxmlformats.org/officeDocument/2006/relationships/tags" Target="../tags/tag26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3.xml"/><Relationship Id="rId1" Type="http://schemas.openxmlformats.org/officeDocument/2006/relationships/tags" Target="../tags/tag262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7.xml"/><Relationship Id="rId1" Type="http://schemas.openxmlformats.org/officeDocument/2006/relationships/tags" Target="../tags/tag26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9.xml"/><Relationship Id="rId1" Type="http://schemas.openxmlformats.org/officeDocument/2006/relationships/tags" Target="../tags/tag26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6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8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79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0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7.xml"/><Relationship Id="rId1" Type="http://schemas.openxmlformats.org/officeDocument/2006/relationships/tags" Target="../tags/tag286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8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0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4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5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296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3.xml"/><Relationship Id="rId1" Type="http://schemas.openxmlformats.org/officeDocument/2006/relationships/tags" Target="../tags/tag30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5.xml"/><Relationship Id="rId1" Type="http://schemas.openxmlformats.org/officeDocument/2006/relationships/tags" Target="../tags/tag30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7.xml"/><Relationship Id="rId1" Type="http://schemas.openxmlformats.org/officeDocument/2006/relationships/tags" Target="../tags/tag30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9.xml"/><Relationship Id="rId1" Type="http://schemas.openxmlformats.org/officeDocument/2006/relationships/tags" Target="../tags/tag308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1.xml"/><Relationship Id="rId1" Type="http://schemas.openxmlformats.org/officeDocument/2006/relationships/tags" Target="../tags/tag310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3.xml"/><Relationship Id="rId1" Type="http://schemas.openxmlformats.org/officeDocument/2006/relationships/tags" Target="../tags/tag312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5.xml"/><Relationship Id="rId1" Type="http://schemas.openxmlformats.org/officeDocument/2006/relationships/tags" Target="../tags/tag31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7.xml"/><Relationship Id="rId1" Type="http://schemas.openxmlformats.org/officeDocument/2006/relationships/tags" Target="../tags/tag3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9.xml"/><Relationship Id="rId1" Type="http://schemas.openxmlformats.org/officeDocument/2006/relationships/tags" Target="../tags/tag318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1.xml"/><Relationship Id="rId1" Type="http://schemas.openxmlformats.org/officeDocument/2006/relationships/tags" Target="../tags/tag320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3.xml"/><Relationship Id="rId1" Type="http://schemas.openxmlformats.org/officeDocument/2006/relationships/tags" Target="../tags/tag322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5.xml"/><Relationship Id="rId1" Type="http://schemas.openxmlformats.org/officeDocument/2006/relationships/tags" Target="../tags/tag32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7.xml"/><Relationship Id="rId1" Type="http://schemas.openxmlformats.org/officeDocument/2006/relationships/tags" Target="../tags/tag326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29.xml"/><Relationship Id="rId1" Type="http://schemas.openxmlformats.org/officeDocument/2006/relationships/tags" Target="../tags/tag328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1.xml"/><Relationship Id="rId1" Type="http://schemas.openxmlformats.org/officeDocument/2006/relationships/tags" Target="../tags/tag33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3.xml"/><Relationship Id="rId1" Type="http://schemas.openxmlformats.org/officeDocument/2006/relationships/tags" Target="../tags/tag33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5.xml"/><Relationship Id="rId1" Type="http://schemas.openxmlformats.org/officeDocument/2006/relationships/tags" Target="../tags/tag33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7.xml"/><Relationship Id="rId1" Type="http://schemas.openxmlformats.org/officeDocument/2006/relationships/tags" Target="../tags/tag336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9.xml"/><Relationship Id="rId1" Type="http://schemas.openxmlformats.org/officeDocument/2006/relationships/tags" Target="../tags/tag33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1.xml"/><Relationship Id="rId1" Type="http://schemas.openxmlformats.org/officeDocument/2006/relationships/tags" Target="../tags/tag340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2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4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49.xml"/><Relationship Id="rId1" Type="http://schemas.openxmlformats.org/officeDocument/2006/relationships/tags" Target="../tags/tag34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1.xml"/><Relationship Id="rId1" Type="http://schemas.openxmlformats.org/officeDocument/2006/relationships/tags" Target="../tags/tag350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3.xml"/><Relationship Id="rId1" Type="http://schemas.openxmlformats.org/officeDocument/2006/relationships/tags" Target="../tags/tag352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5.xml"/><Relationship Id="rId1" Type="http://schemas.openxmlformats.org/officeDocument/2006/relationships/tags" Target="../tags/tag354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7.xml"/><Relationship Id="rId1" Type="http://schemas.openxmlformats.org/officeDocument/2006/relationships/tags" Target="../tags/tag356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9.xml"/><Relationship Id="rId1" Type="http://schemas.openxmlformats.org/officeDocument/2006/relationships/tags" Target="../tags/tag358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1.xml"/><Relationship Id="rId1" Type="http://schemas.openxmlformats.org/officeDocument/2006/relationships/tags" Target="../tags/tag360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3.xml"/><Relationship Id="rId1" Type="http://schemas.openxmlformats.org/officeDocument/2006/relationships/tags" Target="../tags/tag36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5.xml"/><Relationship Id="rId1" Type="http://schemas.openxmlformats.org/officeDocument/2006/relationships/tags" Target="../tags/tag364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7.xml"/><Relationship Id="rId1" Type="http://schemas.openxmlformats.org/officeDocument/2006/relationships/tags" Target="../tags/tag36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9.xml"/><Relationship Id="rId1" Type="http://schemas.openxmlformats.org/officeDocument/2006/relationships/tags" Target="../tags/tag368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71.xml"/><Relationship Id="rId1" Type="http://schemas.openxmlformats.org/officeDocument/2006/relationships/tags" Target="../tags/tag370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73.xml"/><Relationship Id="rId1" Type="http://schemas.openxmlformats.org/officeDocument/2006/relationships/tags" Target="../tags/tag37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75.xml"/><Relationship Id="rId1" Type="http://schemas.openxmlformats.org/officeDocument/2006/relationships/tags" Target="../tags/tag374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77.xml"/><Relationship Id="rId1" Type="http://schemas.openxmlformats.org/officeDocument/2006/relationships/tags" Target="../tags/tag376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79.xml"/><Relationship Id="rId1" Type="http://schemas.openxmlformats.org/officeDocument/2006/relationships/tags" Target="../tags/tag378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81.xml"/><Relationship Id="rId1" Type="http://schemas.openxmlformats.org/officeDocument/2006/relationships/tags" Target="../tags/tag380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83.xml"/><Relationship Id="rId1" Type="http://schemas.openxmlformats.org/officeDocument/2006/relationships/tags" Target="../tags/tag382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85.xml"/><Relationship Id="rId1" Type="http://schemas.openxmlformats.org/officeDocument/2006/relationships/tags" Target="../tags/tag38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6.xml"/><Relationship Id="rId4" Type="http://schemas.openxmlformats.org/officeDocument/2006/relationships/image" Target="../media/image20.png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94.xml"/><Relationship Id="rId1" Type="http://schemas.openxmlformats.org/officeDocument/2006/relationships/tags" Target="../tags/tag39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96.xml"/><Relationship Id="rId1" Type="http://schemas.openxmlformats.org/officeDocument/2006/relationships/tags" Target="../tags/tag39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98.xml"/><Relationship Id="rId1" Type="http://schemas.openxmlformats.org/officeDocument/2006/relationships/tags" Target="../tags/tag397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0.xml"/><Relationship Id="rId1" Type="http://schemas.openxmlformats.org/officeDocument/2006/relationships/tags" Target="../tags/tag399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2.xml"/><Relationship Id="rId1" Type="http://schemas.openxmlformats.org/officeDocument/2006/relationships/tags" Target="../tags/tag401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4.xml"/><Relationship Id="rId1" Type="http://schemas.openxmlformats.org/officeDocument/2006/relationships/tags" Target="../tags/tag403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6.xml"/><Relationship Id="rId1" Type="http://schemas.openxmlformats.org/officeDocument/2006/relationships/tags" Target="../tags/tag40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8.xml"/><Relationship Id="rId1" Type="http://schemas.openxmlformats.org/officeDocument/2006/relationships/tags" Target="../tags/tag407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0.xml"/><Relationship Id="rId1" Type="http://schemas.openxmlformats.org/officeDocument/2006/relationships/tags" Target="../tags/tag40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2.xml"/><Relationship Id="rId1" Type="http://schemas.openxmlformats.org/officeDocument/2006/relationships/tags" Target="../tags/tag411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4.xml"/><Relationship Id="rId1" Type="http://schemas.openxmlformats.org/officeDocument/2006/relationships/tags" Target="../tags/tag41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6.xml"/><Relationship Id="rId1" Type="http://schemas.openxmlformats.org/officeDocument/2006/relationships/tags" Target="../tags/tag41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8.xml"/><Relationship Id="rId1" Type="http://schemas.openxmlformats.org/officeDocument/2006/relationships/tags" Target="../tags/tag417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0.xml"/><Relationship Id="rId1" Type="http://schemas.openxmlformats.org/officeDocument/2006/relationships/tags" Target="../tags/tag419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2.xml"/><Relationship Id="rId1" Type="http://schemas.openxmlformats.org/officeDocument/2006/relationships/tags" Target="../tags/tag42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4.xml"/><Relationship Id="rId1" Type="http://schemas.openxmlformats.org/officeDocument/2006/relationships/tags" Target="../tags/tag42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6.xml"/><Relationship Id="rId1" Type="http://schemas.openxmlformats.org/officeDocument/2006/relationships/tags" Target="../tags/tag425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8.xml"/><Relationship Id="rId1" Type="http://schemas.openxmlformats.org/officeDocument/2006/relationships/tags" Target="../tags/tag427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0.xml"/><Relationship Id="rId1" Type="http://schemas.openxmlformats.org/officeDocument/2006/relationships/tags" Target="../tags/tag429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2.xml"/><Relationship Id="rId1" Type="http://schemas.openxmlformats.org/officeDocument/2006/relationships/tags" Target="../tags/tag431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33.xml"/><Relationship Id="rId4" Type="http://schemas.openxmlformats.org/officeDocument/2006/relationships/image" Target="../media/image23.png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40.xml"/><Relationship Id="rId1" Type="http://schemas.openxmlformats.org/officeDocument/2006/relationships/tags" Target="../tags/tag43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42.xml"/><Relationship Id="rId1" Type="http://schemas.openxmlformats.org/officeDocument/2006/relationships/tags" Target="../tags/tag441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44.xml"/><Relationship Id="rId1" Type="http://schemas.openxmlformats.org/officeDocument/2006/relationships/tags" Target="../tags/tag443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46.xml"/><Relationship Id="rId1" Type="http://schemas.openxmlformats.org/officeDocument/2006/relationships/tags" Target="../tags/tag44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48.xml"/><Relationship Id="rId1" Type="http://schemas.openxmlformats.org/officeDocument/2006/relationships/tags" Target="../tags/tag447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50.xml"/><Relationship Id="rId1" Type="http://schemas.openxmlformats.org/officeDocument/2006/relationships/tags" Target="../tags/tag449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52.xml"/><Relationship Id="rId1" Type="http://schemas.openxmlformats.org/officeDocument/2006/relationships/tags" Target="../tags/tag451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54.xml"/><Relationship Id="rId1" Type="http://schemas.openxmlformats.org/officeDocument/2006/relationships/tags" Target="../tags/tag453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56.xml"/><Relationship Id="rId1" Type="http://schemas.openxmlformats.org/officeDocument/2006/relationships/tags" Target="../tags/tag455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58.xml"/><Relationship Id="rId1" Type="http://schemas.openxmlformats.org/officeDocument/2006/relationships/tags" Target="../tags/tag457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0.xml"/><Relationship Id="rId1" Type="http://schemas.openxmlformats.org/officeDocument/2006/relationships/tags" Target="../tags/tag45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2.xml"/><Relationship Id="rId1" Type="http://schemas.openxmlformats.org/officeDocument/2006/relationships/tags" Target="../tags/tag46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4.xml"/><Relationship Id="rId1" Type="http://schemas.openxmlformats.org/officeDocument/2006/relationships/tags" Target="../tags/tag463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6.xml"/><Relationship Id="rId1" Type="http://schemas.openxmlformats.org/officeDocument/2006/relationships/tags" Target="../tags/tag46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68.xml"/><Relationship Id="rId1" Type="http://schemas.openxmlformats.org/officeDocument/2006/relationships/tags" Target="../tags/tag467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0.xml"/><Relationship Id="rId1" Type="http://schemas.openxmlformats.org/officeDocument/2006/relationships/tags" Target="../tags/tag469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2.xml"/><Relationship Id="rId1" Type="http://schemas.openxmlformats.org/officeDocument/2006/relationships/tags" Target="../tags/tag471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4.xml"/><Relationship Id="rId1" Type="http://schemas.openxmlformats.org/officeDocument/2006/relationships/tags" Target="../tags/tag47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6.xml"/><Relationship Id="rId1" Type="http://schemas.openxmlformats.org/officeDocument/2006/relationships/tags" Target="../tags/tag475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8.xml"/><Relationship Id="rId1" Type="http://schemas.openxmlformats.org/officeDocument/2006/relationships/tags" Target="../tags/tag47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3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85.xml"/><Relationship Id="rId1" Type="http://schemas.openxmlformats.org/officeDocument/2006/relationships/tags" Target="../tags/tag484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87.xml"/><Relationship Id="rId1" Type="http://schemas.openxmlformats.org/officeDocument/2006/relationships/tags" Target="../tags/tag486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89.xml"/><Relationship Id="rId1" Type="http://schemas.openxmlformats.org/officeDocument/2006/relationships/tags" Target="../tags/tag488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91.xml"/><Relationship Id="rId1" Type="http://schemas.openxmlformats.org/officeDocument/2006/relationships/tags" Target="../tags/tag490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93.xml"/><Relationship Id="rId1" Type="http://schemas.openxmlformats.org/officeDocument/2006/relationships/tags" Target="../tags/tag49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95.xml"/><Relationship Id="rId1" Type="http://schemas.openxmlformats.org/officeDocument/2006/relationships/tags" Target="../tags/tag494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97.xml"/><Relationship Id="rId1" Type="http://schemas.openxmlformats.org/officeDocument/2006/relationships/tags" Target="../tags/tag496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99.xml"/><Relationship Id="rId1" Type="http://schemas.openxmlformats.org/officeDocument/2006/relationships/tags" Target="../tags/tag498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01.xml"/><Relationship Id="rId1" Type="http://schemas.openxmlformats.org/officeDocument/2006/relationships/tags" Target="../tags/tag500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03.xml"/><Relationship Id="rId1" Type="http://schemas.openxmlformats.org/officeDocument/2006/relationships/tags" Target="../tags/tag502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05.xml"/><Relationship Id="rId1" Type="http://schemas.openxmlformats.org/officeDocument/2006/relationships/tags" Target="../tags/tag504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07.xml"/><Relationship Id="rId1" Type="http://schemas.openxmlformats.org/officeDocument/2006/relationships/tags" Target="../tags/tag506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09.xml"/><Relationship Id="rId1" Type="http://schemas.openxmlformats.org/officeDocument/2006/relationships/tags" Target="../tags/tag508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11.xml"/><Relationship Id="rId1" Type="http://schemas.openxmlformats.org/officeDocument/2006/relationships/tags" Target="../tags/tag510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13.xml"/><Relationship Id="rId1" Type="http://schemas.openxmlformats.org/officeDocument/2006/relationships/tags" Target="../tags/tag51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15.xml"/><Relationship Id="rId1" Type="http://schemas.openxmlformats.org/officeDocument/2006/relationships/tags" Target="../tags/tag514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17.xml"/><Relationship Id="rId1" Type="http://schemas.openxmlformats.org/officeDocument/2006/relationships/tags" Target="../tags/tag516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19.xml"/><Relationship Id="rId1" Type="http://schemas.openxmlformats.org/officeDocument/2006/relationships/tags" Target="../tags/tag518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21.xml"/><Relationship Id="rId1" Type="http://schemas.openxmlformats.org/officeDocument/2006/relationships/tags" Target="../tags/tag520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23.xml"/><Relationship Id="rId1" Type="http://schemas.openxmlformats.org/officeDocument/2006/relationships/tags" Target="../tags/tag52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525.xml"/><Relationship Id="rId1" Type="http://schemas.openxmlformats.org/officeDocument/2006/relationships/tags" Target="../tags/tag524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30.xml"/><Relationship Id="rId1" Type="http://schemas.openxmlformats.org/officeDocument/2006/relationships/tags" Target="../tags/tag529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32.xml"/><Relationship Id="rId1" Type="http://schemas.openxmlformats.org/officeDocument/2006/relationships/tags" Target="../tags/tag531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34.xml"/><Relationship Id="rId1" Type="http://schemas.openxmlformats.org/officeDocument/2006/relationships/tags" Target="../tags/tag533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36.xml"/><Relationship Id="rId1" Type="http://schemas.openxmlformats.org/officeDocument/2006/relationships/tags" Target="../tags/tag535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38.xml"/><Relationship Id="rId1" Type="http://schemas.openxmlformats.org/officeDocument/2006/relationships/tags" Target="../tags/tag537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40.xml"/><Relationship Id="rId1" Type="http://schemas.openxmlformats.org/officeDocument/2006/relationships/tags" Target="../tags/tag539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42.xml"/><Relationship Id="rId1" Type="http://schemas.openxmlformats.org/officeDocument/2006/relationships/tags" Target="../tags/tag541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44.xml"/><Relationship Id="rId1" Type="http://schemas.openxmlformats.org/officeDocument/2006/relationships/tags" Target="../tags/tag54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46.xml"/><Relationship Id="rId1" Type="http://schemas.openxmlformats.org/officeDocument/2006/relationships/tags" Target="../tags/tag54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48.xml"/><Relationship Id="rId1" Type="http://schemas.openxmlformats.org/officeDocument/2006/relationships/tags" Target="../tags/tag547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50.xml"/><Relationship Id="rId1" Type="http://schemas.openxmlformats.org/officeDocument/2006/relationships/tags" Target="../tags/tag549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52.xml"/><Relationship Id="rId1" Type="http://schemas.openxmlformats.org/officeDocument/2006/relationships/tags" Target="../tags/tag551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54.xml"/><Relationship Id="rId1" Type="http://schemas.openxmlformats.org/officeDocument/2006/relationships/tags" Target="../tags/tag553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56.xml"/><Relationship Id="rId1" Type="http://schemas.openxmlformats.org/officeDocument/2006/relationships/tags" Target="../tags/tag555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58.xml"/><Relationship Id="rId1" Type="http://schemas.openxmlformats.org/officeDocument/2006/relationships/tags" Target="../tags/tag557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60.xml"/><Relationship Id="rId1" Type="http://schemas.openxmlformats.org/officeDocument/2006/relationships/tags" Target="../tags/tag559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62.xml"/><Relationship Id="rId1" Type="http://schemas.openxmlformats.org/officeDocument/2006/relationships/tags" Target="../tags/tag56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64.xml"/><Relationship Id="rId1" Type="http://schemas.openxmlformats.org/officeDocument/2006/relationships/tags" Target="../tags/tag563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66.xml"/><Relationship Id="rId1" Type="http://schemas.openxmlformats.org/officeDocument/2006/relationships/tags" Target="../tags/tag565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68.xml"/><Relationship Id="rId1" Type="http://schemas.openxmlformats.org/officeDocument/2006/relationships/tags" Target="../tags/tag567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7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7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75.xml"/><Relationship Id="rId1" Type="http://schemas.openxmlformats.org/officeDocument/2006/relationships/tags" Target="../tags/tag574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77.xml"/><Relationship Id="rId1" Type="http://schemas.openxmlformats.org/officeDocument/2006/relationships/tags" Target="../tags/tag576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79.xml"/><Relationship Id="rId1" Type="http://schemas.openxmlformats.org/officeDocument/2006/relationships/tags" Target="../tags/tag578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81.xml"/><Relationship Id="rId1" Type="http://schemas.openxmlformats.org/officeDocument/2006/relationships/tags" Target="../tags/tag580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83.xml"/><Relationship Id="rId1" Type="http://schemas.openxmlformats.org/officeDocument/2006/relationships/tags" Target="../tags/tag582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85.xml"/><Relationship Id="rId1" Type="http://schemas.openxmlformats.org/officeDocument/2006/relationships/tags" Target="../tags/tag584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87.xml"/><Relationship Id="rId1" Type="http://schemas.openxmlformats.org/officeDocument/2006/relationships/tags" Target="../tags/tag586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89.xml"/><Relationship Id="rId1" Type="http://schemas.openxmlformats.org/officeDocument/2006/relationships/tags" Target="../tags/tag58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91.xml"/><Relationship Id="rId1" Type="http://schemas.openxmlformats.org/officeDocument/2006/relationships/tags" Target="../tags/tag590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93.xml"/><Relationship Id="rId1" Type="http://schemas.openxmlformats.org/officeDocument/2006/relationships/tags" Target="../tags/tag592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95.xml"/><Relationship Id="rId1" Type="http://schemas.openxmlformats.org/officeDocument/2006/relationships/tags" Target="../tags/tag594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97.xml"/><Relationship Id="rId1" Type="http://schemas.openxmlformats.org/officeDocument/2006/relationships/tags" Target="../tags/tag596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0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599.xml"/><Relationship Id="rId1" Type="http://schemas.openxmlformats.org/officeDocument/2006/relationships/tags" Target="../tags/tag598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01.xml"/><Relationship Id="rId1" Type="http://schemas.openxmlformats.org/officeDocument/2006/relationships/tags" Target="../tags/tag600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03.xml"/><Relationship Id="rId1" Type="http://schemas.openxmlformats.org/officeDocument/2006/relationships/tags" Target="../tags/tag602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05.xml"/><Relationship Id="rId1" Type="http://schemas.openxmlformats.org/officeDocument/2006/relationships/tags" Target="../tags/tag604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07.xml"/><Relationship Id="rId1" Type="http://schemas.openxmlformats.org/officeDocument/2006/relationships/tags" Target="../tags/tag60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09.xml"/><Relationship Id="rId1" Type="http://schemas.openxmlformats.org/officeDocument/2006/relationships/tags" Target="../tags/tag608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11.xml"/><Relationship Id="rId1" Type="http://schemas.openxmlformats.org/officeDocument/2006/relationships/tags" Target="../tags/tag610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613.xml"/><Relationship Id="rId1" Type="http://schemas.openxmlformats.org/officeDocument/2006/relationships/tags" Target="../tags/tag61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1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21.xml"/><Relationship Id="rId1" Type="http://schemas.openxmlformats.org/officeDocument/2006/relationships/tags" Target="../tags/tag620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23.xml"/><Relationship Id="rId1" Type="http://schemas.openxmlformats.org/officeDocument/2006/relationships/tags" Target="../tags/tag622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25.xml"/><Relationship Id="rId1" Type="http://schemas.openxmlformats.org/officeDocument/2006/relationships/tags" Target="../tags/tag62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27.xml"/><Relationship Id="rId1" Type="http://schemas.openxmlformats.org/officeDocument/2006/relationships/tags" Target="../tags/tag626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29.xml"/><Relationship Id="rId1" Type="http://schemas.openxmlformats.org/officeDocument/2006/relationships/tags" Target="../tags/tag628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31.xml"/><Relationship Id="rId1" Type="http://schemas.openxmlformats.org/officeDocument/2006/relationships/tags" Target="../tags/tag630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33.xml"/><Relationship Id="rId1" Type="http://schemas.openxmlformats.org/officeDocument/2006/relationships/tags" Target="../tags/tag632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35.xml"/><Relationship Id="rId1" Type="http://schemas.openxmlformats.org/officeDocument/2006/relationships/tags" Target="../tags/tag634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37.xml"/><Relationship Id="rId1" Type="http://schemas.openxmlformats.org/officeDocument/2006/relationships/tags" Target="../tags/tag636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39.xml"/><Relationship Id="rId1" Type="http://schemas.openxmlformats.org/officeDocument/2006/relationships/tags" Target="../tags/tag638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41.xml"/><Relationship Id="rId1" Type="http://schemas.openxmlformats.org/officeDocument/2006/relationships/tags" Target="../tags/tag640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43.xml"/><Relationship Id="rId1" Type="http://schemas.openxmlformats.org/officeDocument/2006/relationships/tags" Target="../tags/tag642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45.xml"/><Relationship Id="rId1" Type="http://schemas.openxmlformats.org/officeDocument/2006/relationships/tags" Target="../tags/tag644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47.xml"/><Relationship Id="rId1" Type="http://schemas.openxmlformats.org/officeDocument/2006/relationships/tags" Target="../tags/tag646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49.xml"/><Relationship Id="rId1" Type="http://schemas.openxmlformats.org/officeDocument/2006/relationships/tags" Target="../tags/tag648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51.xml"/><Relationship Id="rId1" Type="http://schemas.openxmlformats.org/officeDocument/2006/relationships/tags" Target="../tags/tag650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53.xml"/><Relationship Id="rId1" Type="http://schemas.openxmlformats.org/officeDocument/2006/relationships/tags" Target="../tags/tag652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55.xml"/><Relationship Id="rId1" Type="http://schemas.openxmlformats.org/officeDocument/2006/relationships/tags" Target="../tags/tag654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57.xml"/><Relationship Id="rId1" Type="http://schemas.openxmlformats.org/officeDocument/2006/relationships/tags" Target="../tags/tag656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659.xml"/><Relationship Id="rId1" Type="http://schemas.openxmlformats.org/officeDocument/2006/relationships/tags" Target="../tags/tag658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660.xml"/><Relationship Id="rId4" Type="http://schemas.openxmlformats.org/officeDocument/2006/relationships/image" Target="../media/image31.png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3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68.xml"/><Relationship Id="rId1" Type="http://schemas.openxmlformats.org/officeDocument/2006/relationships/tags" Target="../tags/tag667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70.xml"/><Relationship Id="rId1" Type="http://schemas.openxmlformats.org/officeDocument/2006/relationships/tags" Target="../tags/tag669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72.xml"/><Relationship Id="rId1" Type="http://schemas.openxmlformats.org/officeDocument/2006/relationships/tags" Target="../tags/tag671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74.xml"/><Relationship Id="rId1" Type="http://schemas.openxmlformats.org/officeDocument/2006/relationships/tags" Target="../tags/tag673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76.xml"/><Relationship Id="rId1" Type="http://schemas.openxmlformats.org/officeDocument/2006/relationships/tags" Target="../tags/tag675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78.xml"/><Relationship Id="rId1" Type="http://schemas.openxmlformats.org/officeDocument/2006/relationships/tags" Target="../tags/tag677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80.xml"/><Relationship Id="rId1" Type="http://schemas.openxmlformats.org/officeDocument/2006/relationships/tags" Target="../tags/tag679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82.xml"/><Relationship Id="rId1" Type="http://schemas.openxmlformats.org/officeDocument/2006/relationships/tags" Target="../tags/tag68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84.xml"/><Relationship Id="rId1" Type="http://schemas.openxmlformats.org/officeDocument/2006/relationships/tags" Target="../tags/tag683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86.xml"/><Relationship Id="rId1" Type="http://schemas.openxmlformats.org/officeDocument/2006/relationships/tags" Target="../tags/tag685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88.xml"/><Relationship Id="rId1" Type="http://schemas.openxmlformats.org/officeDocument/2006/relationships/tags" Target="../tags/tag687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90.xml"/><Relationship Id="rId1" Type="http://schemas.openxmlformats.org/officeDocument/2006/relationships/tags" Target="../tags/tag689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3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92.xml"/><Relationship Id="rId1" Type="http://schemas.openxmlformats.org/officeDocument/2006/relationships/tags" Target="../tags/tag691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94.xml"/><Relationship Id="rId1" Type="http://schemas.openxmlformats.org/officeDocument/2006/relationships/tags" Target="../tags/tag693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96.xml"/><Relationship Id="rId1" Type="http://schemas.openxmlformats.org/officeDocument/2006/relationships/tags" Target="../tags/tag695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698.xml"/><Relationship Id="rId1" Type="http://schemas.openxmlformats.org/officeDocument/2006/relationships/tags" Target="../tags/tag697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00.xml"/><Relationship Id="rId1" Type="http://schemas.openxmlformats.org/officeDocument/2006/relationships/tags" Target="../tags/tag699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02.xml"/><Relationship Id="rId1" Type="http://schemas.openxmlformats.org/officeDocument/2006/relationships/tags" Target="../tags/tag701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04.xml"/><Relationship Id="rId1" Type="http://schemas.openxmlformats.org/officeDocument/2006/relationships/tags" Target="../tags/tag703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706.xml"/><Relationship Id="rId1" Type="http://schemas.openxmlformats.org/officeDocument/2006/relationships/tags" Target="../tags/tag705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707.xml"/><Relationship Id="rId4" Type="http://schemas.openxmlformats.org/officeDocument/2006/relationships/image" Target="../media/image23.png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3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tags" Target="../tags/tag9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0.xml"/><Relationship Id="rId1" Type="http://schemas.openxmlformats.org/officeDocument/2006/relationships/tags" Target="../tags/tag9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2.xml"/><Relationship Id="rId1" Type="http://schemas.openxmlformats.org/officeDocument/2006/relationships/tags" Target="../tags/tag10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3.xml"/><Relationship Id="rId1" Type="http://schemas.openxmlformats.org/officeDocument/2006/relationships/tags" Target="../tags/tag14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5.xml"/><Relationship Id="rId1" Type="http://schemas.openxmlformats.org/officeDocument/2006/relationships/tags" Target="../tags/tag14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7.xml"/><Relationship Id="rId1" Type="http://schemas.openxmlformats.org/officeDocument/2006/relationships/tags" Target="../tags/tag14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9.xml"/><Relationship Id="rId1" Type="http://schemas.openxmlformats.org/officeDocument/2006/relationships/tags" Target="../tags/tag14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1.xml"/><Relationship Id="rId1" Type="http://schemas.openxmlformats.org/officeDocument/2006/relationships/tags" Target="../tags/tag150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3.xml"/><Relationship Id="rId1" Type="http://schemas.openxmlformats.org/officeDocument/2006/relationships/tags" Target="../tags/tag15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5.xml"/><Relationship Id="rId1" Type="http://schemas.openxmlformats.org/officeDocument/2006/relationships/tags" Target="../tags/tag15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9.xml"/><Relationship Id="rId1" Type="http://schemas.openxmlformats.org/officeDocument/2006/relationships/tags" Target="../tags/tag17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8.xml"/><Relationship Id="rId1" Type="http://schemas.openxmlformats.org/officeDocument/2006/relationships/tags" Target="../tags/tag18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0.xml"/><Relationship Id="rId1" Type="http://schemas.openxmlformats.org/officeDocument/2006/relationships/tags" Target="../tags/tag18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7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0351291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73799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1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576018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449956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4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626488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4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1" y="1196754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689111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84102311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4450215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1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4476385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35218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90" y="2276874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3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5" y="5805265"/>
            <a:ext cx="8388425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</p:spTree>
    <p:extLst>
      <p:ext uri="{BB962C8B-B14F-4D97-AF65-F5344CB8AC3E}">
        <p14:creationId xmlns:p14="http://schemas.microsoft.com/office/powerpoint/2010/main" xmlns="" val="13981996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7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5782329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7" y="1412777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2877607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1412777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7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6274045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9929009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3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3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3645024"/>
            <a:ext cx="262553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3946921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30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30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1412776"/>
            <a:ext cx="2625530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9118737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7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5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5536560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7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90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8351290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7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9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 lvl="0" indent="0"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 lvl="0" indent="0"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60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 lvl="0" indent="0"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7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6" y="565702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18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7" y="3284985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</p:spTree>
    <p:extLst>
      <p:ext uri="{BB962C8B-B14F-4D97-AF65-F5344CB8AC3E}">
        <p14:creationId xmlns:p14="http://schemas.microsoft.com/office/powerpoint/2010/main" xmlns="" val="27228144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70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</p:spTree>
    <p:extLst>
      <p:ext uri="{BB962C8B-B14F-4D97-AF65-F5344CB8AC3E}">
        <p14:creationId xmlns:p14="http://schemas.microsoft.com/office/powerpoint/2010/main" xmlns="" val="105574223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D1C14C-A143-42F5-B247-D0E800131009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3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03D32D-F1BC-4E9C-97E1-36CFF5B22341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41620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7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6117590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4714423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4788246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74017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3268243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962119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6597898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136953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717580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37799313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0811591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8047447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6322201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334092325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4846199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85180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9900924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252876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8447089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9966569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1075181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8703419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117530784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65010444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5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7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7" y="1266826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354866616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1580" y="306896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791580" y="4172487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488324" y="5038006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D467E4ED-A27C-4B6F-A48D-EBE8938796EA}" type="datetimeFigureOut">
              <a:rPr lang="en-ZA" smtClean="0"/>
              <a:pPr/>
              <a:t>2021/07/23</a:t>
            </a:fld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959584" y="5038006"/>
            <a:ext cx="1584176" cy="365125"/>
          </a:xfrm>
        </p:spPr>
        <p:txBody>
          <a:bodyPr>
            <a:normAutofit/>
          </a:bodyPr>
          <a:lstStyle>
            <a:lvl1pPr algn="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544108" y="5038006"/>
            <a:ext cx="1944216" cy="365125"/>
          </a:xfrm>
        </p:spPr>
        <p:txBody>
          <a:bodyPr>
            <a:normAutofit/>
          </a:bodyPr>
          <a:lstStyle>
            <a:lvl1pPr algn="r">
              <a:defRPr sz="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3893263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51593441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088295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BBB3E30-D5CC-4AC8-BB3A-53543C149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509779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7705864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6649615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7150" y="5516882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73849" y="6149080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4787519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3223802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039641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7035574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77271683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8592083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7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7550534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2844340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722581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60387791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822595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5763680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70697197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4862846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2319127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54448875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3656972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9263332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325930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87039937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859736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3021731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2062547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948018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0727654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4757675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041676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0523375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10190812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362263057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3 Jul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7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5304602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3396462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3400106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119410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4590238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1689000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742140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3880940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80089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05812891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9447257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1572343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2293191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1744577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718282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0496203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6242652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7775106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368880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8349618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5724944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0456254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930898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894145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5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7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7" y="1266826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57266729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/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10246" name="think-cell Slide" r:id="rId4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8590" y="0"/>
            <a:ext cx="8555868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292" y="1277840"/>
            <a:ext cx="8634487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1" y="6026664"/>
            <a:ext cx="6211155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8631123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7834137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6159895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534122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045298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8170565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4867788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8425832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9382327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3241289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7034421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5658835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74940460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293320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4082153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51865444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2170509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68074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6620456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076685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6698643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7542505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5626241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325520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9432575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2513287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3772450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092902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369686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9057941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2629130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7860286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7796570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22092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399815615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18863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2492796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6292767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077430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572041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6986015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854865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4157941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456333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7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4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8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7323242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8564317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40319232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1507660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9982817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2526410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7223832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1362958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3570630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3432283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659342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4940088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9775544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2439052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2803998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1328205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4528824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7083664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5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7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7" y="1266826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154695828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1A20C35F-67B2-4974-81DC-6FD7DB6BC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3445B5-55A3-4392-872E-4C813CFF060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23/202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EA4E7F06-E5EC-474C-9832-6876B0AD66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F3DD146-8B82-42D6-9627-F71C03134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A4651A-E738-4EAD-A6C6-5F741B81723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387411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5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169"/>
              </a:spcBef>
              <a:defRPr sz="1463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5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125" b="0">
                <a:solidFill>
                  <a:schemeClr val="bg1"/>
                </a:solidFill>
              </a:defRPr>
            </a:lvl1pPr>
            <a:lvl2pPr marL="257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9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9"/>
            <a:ext cx="1584176" cy="365125"/>
          </a:xfrm>
        </p:spPr>
        <p:txBody>
          <a:bodyPr>
            <a:normAutofit/>
          </a:bodyPr>
          <a:lstStyle>
            <a:lvl1pPr algn="r">
              <a:defRPr sz="67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9"/>
            <a:ext cx="1944216" cy="365125"/>
          </a:xfrm>
        </p:spPr>
        <p:txBody>
          <a:bodyPr>
            <a:normAutofit/>
          </a:bodyPr>
          <a:lstStyle>
            <a:lvl1pPr algn="r">
              <a:defRPr sz="67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6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675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8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468328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7" y="1196755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021478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6087671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7" y="1196755"/>
            <a:ext cx="4060701" cy="4896073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1" y="1196755"/>
            <a:ext cx="4060701" cy="4896073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8934930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47064548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7" y="1412780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9451342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7" y="1412780"/>
            <a:ext cx="4060701" cy="4680049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1" y="1412780"/>
            <a:ext cx="4060701" cy="4680049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2138062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58331665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7" y="1196756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5941241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7" y="1196756"/>
            <a:ext cx="4060701" cy="4487075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1" y="1196756"/>
            <a:ext cx="4060701" cy="4487075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2965554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49652466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7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8759324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7" y="1412780"/>
            <a:ext cx="4060701" cy="4281441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1" y="1412780"/>
            <a:ext cx="4060701" cy="4281441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768827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68543655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1731766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91" y="2276876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4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5"/>
            <a:ext cx="8388425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675" dirty="0"/>
          </a:p>
        </p:txBody>
      </p:sp>
    </p:spTree>
    <p:extLst>
      <p:ext uri="{BB962C8B-B14F-4D97-AF65-F5344CB8AC3E}">
        <p14:creationId xmlns:p14="http://schemas.microsoft.com/office/powerpoint/2010/main" xmlns="" val="362880011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2" y="1412779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80"/>
            <a:ext cx="5472608" cy="4680049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834982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8" y="1412777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2" y="1412777"/>
            <a:ext cx="6004917" cy="4680048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9480641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9" y="1412777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7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2" y="3532181"/>
            <a:ext cx="8597205" cy="2551450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3421467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9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2" y="1412776"/>
            <a:ext cx="8597205" cy="2143224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0790188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3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3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8" y="3645024"/>
            <a:ext cx="262553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2" y="1412776"/>
            <a:ext cx="8597205" cy="2143224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6045262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30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30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8" y="1412776"/>
            <a:ext cx="2625530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2" y="3703287"/>
            <a:ext cx="8597205" cy="2380344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8308088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2" y="1412777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2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2" y="4537585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1781329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4" y="1412777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4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4" y="4540292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2" y="1412781"/>
            <a:ext cx="5553983" cy="4665905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413021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1193498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7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18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9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788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9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619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619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0250" tIns="40500" rIns="20250" bIns="40500" rtlCol="0" anchor="ctr">
            <a:noAutofit/>
          </a:bodyPr>
          <a:lstStyle/>
          <a:p>
            <a:pPr lvl="0" indent="0">
              <a:spcBef>
                <a:spcPts val="169"/>
              </a:spcBef>
              <a:buFont typeface="Arial" pitchFamily="34" charset="0"/>
              <a:buNone/>
            </a:pPr>
            <a:r>
              <a:rPr lang="en-GB" sz="619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619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7" y="3497483"/>
            <a:ext cx="402674" cy="261610"/>
          </a:xfrm>
          <a:prstGeom prst="rect">
            <a:avLst/>
          </a:prstGeom>
        </p:spPr>
        <p:txBody>
          <a:bodyPr vert="horz" lIns="20250" tIns="40500" rIns="20250" bIns="40500" rtlCol="0" anchor="ctr">
            <a:noAutofit/>
          </a:bodyPr>
          <a:lstStyle/>
          <a:p>
            <a:pPr lvl="0" indent="0">
              <a:spcBef>
                <a:spcPts val="169"/>
              </a:spcBef>
              <a:buFont typeface="Arial" pitchFamily="34" charset="0"/>
              <a:buNone/>
            </a:pPr>
            <a:r>
              <a:rPr lang="en-GB" sz="619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60" cy="266322"/>
          </a:xfrm>
        </p:spPr>
        <p:txBody>
          <a:bodyPr lIns="36000" rIns="36000" anchor="ctr">
            <a:noAutofit/>
          </a:bodyPr>
          <a:lstStyle>
            <a:lvl1pPr>
              <a:defRPr sz="619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8" y="4043102"/>
            <a:ext cx="3734060" cy="261610"/>
          </a:xfrm>
          <a:prstGeom prst="rect">
            <a:avLst/>
          </a:prstGeom>
        </p:spPr>
        <p:txBody>
          <a:bodyPr vert="horz" lIns="20250" tIns="40500" rIns="20250" bIns="40500" rtlCol="0" anchor="ctr">
            <a:noAutofit/>
          </a:bodyPr>
          <a:lstStyle/>
          <a:p>
            <a:pPr lvl="0" indent="0">
              <a:spcBef>
                <a:spcPts val="169"/>
              </a:spcBef>
              <a:buFont typeface="Arial" pitchFamily="34" charset="0"/>
              <a:buNone/>
            </a:pPr>
            <a:r>
              <a:rPr lang="en-GB" sz="619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9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6" y="565703"/>
            <a:ext cx="14318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135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619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7" y="3284987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675" dirty="0"/>
          </a:p>
        </p:txBody>
      </p:sp>
    </p:spTree>
    <p:extLst>
      <p:ext uri="{BB962C8B-B14F-4D97-AF65-F5344CB8AC3E}">
        <p14:creationId xmlns:p14="http://schemas.microsoft.com/office/powerpoint/2010/main" xmlns="" val="365140338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2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350"/>
              </a:spcAft>
            </a:pPr>
            <a:r>
              <a:rPr lang="en-US" sz="18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675" dirty="0"/>
          </a:p>
        </p:txBody>
      </p:sp>
    </p:spTree>
    <p:extLst>
      <p:ext uri="{BB962C8B-B14F-4D97-AF65-F5344CB8AC3E}">
        <p14:creationId xmlns:p14="http://schemas.microsoft.com/office/powerpoint/2010/main" xmlns="" val="79980761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33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ED1C14C-A143-42F5-B247-D0E800131009}" type="datetimeFigureOut">
              <a:rPr lang="en-US" smtClean="0">
                <a:solidFill>
                  <a:prstClr val="black"/>
                </a:solidFill>
              </a:rPr>
              <a:pPr>
                <a:defRPr/>
              </a:pPr>
              <a:t>7/23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998F86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B03D32D-F1BC-4E9C-97E1-36CFF5B22341}" type="slidenum">
              <a:rPr lang="en-US" smtClean="0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1717402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9096612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4548084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099032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9163402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3838560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9558998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94706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1473744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5637583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56937516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6671541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2672666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7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>
                <a:solidFill>
                  <a:prstClr val="white"/>
                </a:solidFill>
              </a:rPr>
              <a:pPr/>
              <a:t>23 July 2021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4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>
              <a:solidFill>
                <a:prstClr val="whit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8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0261286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9456404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5175075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78410095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5363519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46423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2759418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393537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0115903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1230004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7068215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8592318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8482507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5538543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3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7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3428595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42061839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257828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7841798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0091442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5300059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9177419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4079766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0258140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72686760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7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5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7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6" y="565703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6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893849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70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453823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Fullppt\005-PNG이미지\모니터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39552" y="1748645"/>
            <a:ext cx="3394308" cy="4512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75617" y="1925233"/>
            <a:ext cx="3104295" cy="28479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189" indent="0">
              <a:buNone/>
              <a:defRPr sz="2775"/>
            </a:lvl2pPr>
            <a:lvl3pPr marL="914378" indent="0">
              <a:buNone/>
              <a:defRPr sz="2400"/>
            </a:lvl3pPr>
            <a:lvl4pPr marL="1371566" indent="0">
              <a:buNone/>
              <a:defRPr sz="2025"/>
            </a:lvl4pPr>
            <a:lvl5pPr marL="1828754" indent="0">
              <a:buNone/>
              <a:defRPr sz="2025"/>
            </a:lvl5pPr>
            <a:lvl6pPr marL="2285943" indent="0">
              <a:buNone/>
              <a:defRPr sz="2025"/>
            </a:lvl6pPr>
            <a:lvl7pPr marL="2743132" indent="0">
              <a:buNone/>
              <a:defRPr sz="2025"/>
            </a:lvl7pPr>
            <a:lvl8pPr marL="3200320" indent="0">
              <a:buNone/>
              <a:defRPr sz="2025"/>
            </a:lvl8pPr>
            <a:lvl9pPr marL="3657509" indent="0">
              <a:buNone/>
              <a:defRPr sz="2025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xmlns="" val="118861804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3553A7-B597-47B7-A4FD-17F7F3EBF6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1014EE2B-D204-412F-8327-02860EBD70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D61CCF9-7935-4174-B90E-5829410DC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7D3BE6E-E208-4D02-BF69-6AE24A03B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7C9B712-C68C-4E68-95CE-B83C65F71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81609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5134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2273D32-A829-4FA2-BB0D-371DF32F5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FE92524-4085-4BD1-A487-1A0BF51D08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2E9F834-868A-4E76-B549-948AC2E96E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337C8DA-32A9-48FB-AC04-EC7E5E373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1FE885A-A56F-4DD3-A65A-56AA3CBE0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092400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1E8C52-0B47-4981-B0AE-9B04344CC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A6ED98D-12D3-47D3-A9D9-1454EA4E77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92812A1-276E-4D86-93EF-01A3840C9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6166424-1153-479B-AB23-C6E35DCC1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5E005A1-97BD-46A0-BF37-7D481EF6C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7608966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2E7C75-32DB-4DA2-89D8-018BEE74B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649534F-2C39-40C2-AA30-B2171FE934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47FD145-63DC-46DE-928F-C0E01CF6EE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D136FAF-967D-4062-BC94-A3F143184B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A0034F5-2D62-4F62-92D9-1B2618468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F2957D0-D88F-4CE5-9490-491985D76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720236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8F5349D-ECED-4CD0-8FD3-E05D7B357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7EC8AC6-0DC7-4181-ADB9-3F9DA4FA7C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969D608-E188-40C5-A582-C2D1E8CCD3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8FAF67D4-FB07-4C6F-B419-E9EFDE767C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A679916-F460-4DF1-9E53-848928ABA3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E0CBBFEB-5BF6-4B23-8D57-0C8491546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9FA1E04-B0AC-4AE7-A39D-36D854ACC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E1C06039-B5D2-4BAF-B916-78B342CC2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700119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0C53740-0EF2-4D44-A46F-7740ACA0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54CD8BCD-CA49-4A03-AAFE-431CE1DBB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CB9D0D7B-40B7-4473-809E-A8C95E858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9852D9F-2002-4A9A-81A0-5E7DB4A5B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55192152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293E917-4179-4C4B-A2F5-BED49D2F3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BA3BA9F-5CD5-4356-9932-2BF5309CD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E702771-A479-4C85-92D8-C87838420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161686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39D7C9-827B-4A37-A5B1-DB21C8C58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ADA6788-657E-4335-A1B9-4393686F81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89FA36E-3108-4566-82F9-9D35222AF9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E6A6F5F-51C3-4A78-AAEB-2BBE272406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10894F5-BC25-4136-A848-22A52FB7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C921D54-0860-4E02-9DAA-94054ACEE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27617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7971CE-D3C7-44DC-B607-ADD261736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D169D804-2D10-40AD-9F27-28ABEE3BDF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C614441-09D9-4E9E-B9D7-DA9504C93E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B93F14A-7B26-40BA-B6E6-9A5D9A32D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F675880-D2E8-48E9-9631-93B3EAB7E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C657CBB-401C-4035-89BA-12A08B361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866228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7BA568E-9FEE-41E3-AED6-7BB6CBC74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F16387C-CD27-4FAB-BBE9-87EBC21D7E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20449B5-5561-4B5B-BE0B-795FBD6F06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7690D62-B407-49D3-B859-5940A4760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07C450C-A1C2-4028-B70F-9C1B99BF9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166215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B21F7757-D68B-4C6F-86B4-44D1D1EB67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DCFCB17-D469-4F73-88CD-7C9CFFB46C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78F9878-AC4A-4839-A8FB-69212DC0E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BD64DB4-90E2-41FE-BF03-9EC6F529D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70913AB-9D0B-49DA-98EB-613B1A990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61435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25973402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A5A5A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3804499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7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18328837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2456572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21177876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21420899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9372558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22776745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86604175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3197892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642326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7839398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591789793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19953400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4371824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46345314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3961755100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6061681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57968253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12951404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5032689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026468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3092578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29524772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6730376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8434722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283056317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216731794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15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7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7" y="1266826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124612120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Google Shape;244;p25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25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131948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351861" lvl="1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527792" lvl="2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703722" lvl="3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879653" lvl="4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055583" lvl="5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231514" lvl="6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407444" lvl="7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1583375" lvl="8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25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47" name="Google Shape;247;p25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48" name="Google Shape;248;p25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4216195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Google Shape;250;p26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51" name="Google Shape;251;p26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52" name="Google Shape;252;p26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0061064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40"/>
          <p:cNvSpPr txBox="1"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693"/>
              <a:buFont typeface="Calibri"/>
              <a:buNone/>
              <a:defRPr sz="4499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" name="Google Shape;255;p40"/>
          <p:cNvSpPr txBox="1"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4677"/>
              <a:buNone/>
              <a:defRPr sz="1800"/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508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/>
            </a:lvl9pPr>
          </a:lstStyle>
          <a:p>
            <a:endParaRPr/>
          </a:p>
        </p:txBody>
      </p:sp>
      <p:sp>
        <p:nvSpPr>
          <p:cNvPr id="256" name="Google Shape;256;p40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57" name="Google Shape;257;p40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58" name="Google Shape;258;p40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4990399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p41"/>
          <p:cNvSpPr txBox="1"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693"/>
              <a:buFont typeface="Calibri"/>
              <a:buNone/>
              <a:defRPr sz="4499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" name="Google Shape;261;p41"/>
          <p:cNvSpPr txBox="1"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8796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888888"/>
              </a:buClr>
              <a:buSzPts val="4677"/>
              <a:buNone/>
              <a:defRPr sz="1800">
                <a:solidFill>
                  <a:srgbClr val="888888"/>
                </a:solidFill>
              </a:defRPr>
            </a:lvl1pPr>
            <a:lvl2pPr marL="351861" lvl="1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3898"/>
              <a:buNone/>
              <a:defRPr sz="1500">
                <a:solidFill>
                  <a:srgbClr val="888888"/>
                </a:solidFill>
              </a:defRPr>
            </a:lvl2pPr>
            <a:lvl3pPr marL="527792" lvl="2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3508"/>
              <a:buNone/>
              <a:defRPr sz="1350">
                <a:solidFill>
                  <a:srgbClr val="888888"/>
                </a:solidFill>
              </a:defRPr>
            </a:lvl3pPr>
            <a:lvl4pPr marL="703722" lvl="3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3118"/>
              <a:buNone/>
              <a:defRPr sz="1200">
                <a:solidFill>
                  <a:srgbClr val="888888"/>
                </a:solidFill>
              </a:defRPr>
            </a:lvl4pPr>
            <a:lvl5pPr marL="879653" lvl="4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3118"/>
              <a:buNone/>
              <a:defRPr sz="1200">
                <a:solidFill>
                  <a:srgbClr val="888888"/>
                </a:solidFill>
              </a:defRPr>
            </a:lvl5pPr>
            <a:lvl6pPr marL="1055583" lvl="5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3118"/>
              <a:buNone/>
              <a:defRPr sz="1200">
                <a:solidFill>
                  <a:srgbClr val="888888"/>
                </a:solidFill>
              </a:defRPr>
            </a:lvl6pPr>
            <a:lvl7pPr marL="1231514" lvl="6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3118"/>
              <a:buNone/>
              <a:defRPr sz="1200">
                <a:solidFill>
                  <a:srgbClr val="888888"/>
                </a:solidFill>
              </a:defRPr>
            </a:lvl7pPr>
            <a:lvl8pPr marL="1407444" lvl="7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3118"/>
              <a:buNone/>
              <a:defRPr sz="1200">
                <a:solidFill>
                  <a:srgbClr val="888888"/>
                </a:solidFill>
              </a:defRPr>
            </a:lvl8pPr>
            <a:lvl9pPr marL="1583375" lvl="8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3118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2" name="Google Shape;262;p41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63" name="Google Shape;263;p41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64" name="Google Shape;264;p41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408547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225705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p42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" name="Google Shape;267;p42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131948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351861" lvl="1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527792" lvl="2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703722" lvl="3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879653" lvl="4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055583" lvl="5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231514" lvl="6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407444" lvl="7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1583375" lvl="8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8" name="Google Shape;268;p42"/>
          <p:cNvSpPr txBox="1">
            <a:spLocks noGrp="1"/>
          </p:cNvSpPr>
          <p:nvPr>
            <p:ph type="body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131948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351861" lvl="1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527792" lvl="2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703722" lvl="3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879653" lvl="4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055583" lvl="5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231514" lvl="6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407444" lvl="7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1583375" lvl="8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9" name="Google Shape;269;p42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70" name="Google Shape;270;p42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71" name="Google Shape;271;p42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50199869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p43"/>
          <p:cNvSpPr txBox="1"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43"/>
          <p:cNvSpPr txBox="1"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175931" lvl="0" indent="-8796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4677"/>
              <a:buNone/>
              <a:defRPr sz="1800" b="1"/>
            </a:lvl1pPr>
            <a:lvl2pPr marL="351861" lvl="1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None/>
              <a:defRPr sz="1500" b="1"/>
            </a:lvl2pPr>
            <a:lvl3pPr marL="527792" lvl="2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508"/>
              <a:buNone/>
              <a:defRPr sz="1350" b="1"/>
            </a:lvl3pPr>
            <a:lvl4pPr marL="703722" lvl="3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4pPr>
            <a:lvl5pPr marL="879653" lvl="4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5pPr>
            <a:lvl6pPr marL="1055583" lvl="5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6pPr>
            <a:lvl7pPr marL="1231514" lvl="6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7pPr>
            <a:lvl8pPr marL="1407444" lvl="7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8pPr>
            <a:lvl9pPr marL="1583375" lvl="8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9pPr>
          </a:lstStyle>
          <a:p>
            <a:endParaRPr/>
          </a:p>
        </p:txBody>
      </p:sp>
      <p:sp>
        <p:nvSpPr>
          <p:cNvPr id="275" name="Google Shape;275;p43"/>
          <p:cNvSpPr txBox="1">
            <a:spLocks noGrp="1"/>
          </p:cNvSpPr>
          <p:nvPr>
            <p:ph type="body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131948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351861" lvl="1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527792" lvl="2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703722" lvl="3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879653" lvl="4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055583" lvl="5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231514" lvl="6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407444" lvl="7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1583375" lvl="8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6" name="Google Shape;276;p43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175931" lvl="0" indent="-8796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4677"/>
              <a:buNone/>
              <a:defRPr sz="1800" b="1"/>
            </a:lvl1pPr>
            <a:lvl2pPr marL="351861" lvl="1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None/>
              <a:defRPr sz="1500" b="1"/>
            </a:lvl2pPr>
            <a:lvl3pPr marL="527792" lvl="2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508"/>
              <a:buNone/>
              <a:defRPr sz="1350" b="1"/>
            </a:lvl3pPr>
            <a:lvl4pPr marL="703722" lvl="3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4pPr>
            <a:lvl5pPr marL="879653" lvl="4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5pPr>
            <a:lvl6pPr marL="1055583" lvl="5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6pPr>
            <a:lvl7pPr marL="1231514" lvl="6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7pPr>
            <a:lvl8pPr marL="1407444" lvl="7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8pPr>
            <a:lvl9pPr marL="1583375" lvl="8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 b="1"/>
            </a:lvl9pPr>
          </a:lstStyle>
          <a:p>
            <a:endParaRPr/>
          </a:p>
        </p:txBody>
      </p:sp>
      <p:sp>
        <p:nvSpPr>
          <p:cNvPr id="277" name="Google Shape;277;p43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131948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351861" lvl="1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527792" lvl="2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703722" lvl="3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879653" lvl="4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055583" lvl="5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231514" lvl="6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407444" lvl="7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1583375" lvl="8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8" name="Google Shape;278;p43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79" name="Google Shape;279;p43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80" name="Google Shape;280;p43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0345658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44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44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84" name="Google Shape;284;p44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85" name="Google Shape;285;p44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5005612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Google Shape;287;p45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236"/>
              <a:buFont typeface="Calibri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8" name="Google Shape;288;p45"/>
          <p:cNvSpPr txBox="1">
            <a:spLocks noGrp="1"/>
          </p:cNvSpPr>
          <p:nvPr>
            <p:ph type="body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240341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6236"/>
              <a:buChar char="•"/>
              <a:defRPr sz="2400"/>
            </a:lvl1pPr>
            <a:lvl2pPr marL="351861" lvl="1" indent="-221306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5457"/>
              <a:buChar char="•"/>
              <a:defRPr sz="2100"/>
            </a:lvl2pPr>
            <a:lvl3pPr marL="527792" lvl="2" indent="-202247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4677"/>
              <a:buChar char="•"/>
              <a:defRPr sz="1800"/>
            </a:lvl3pPr>
            <a:lvl4pPr marL="703722" lvl="3" indent="-183212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Char char="•"/>
              <a:defRPr sz="1500"/>
            </a:lvl4pPr>
            <a:lvl5pPr marL="879653" lvl="4" indent="-183212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Char char="•"/>
              <a:defRPr sz="1500"/>
            </a:lvl5pPr>
            <a:lvl6pPr marL="1055583" lvl="5" indent="-183212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Char char="•"/>
              <a:defRPr sz="1500"/>
            </a:lvl6pPr>
            <a:lvl7pPr marL="1231514" lvl="6" indent="-183212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Char char="•"/>
              <a:defRPr sz="1500"/>
            </a:lvl7pPr>
            <a:lvl8pPr marL="1407444" lvl="7" indent="-183212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Char char="•"/>
              <a:defRPr sz="1500"/>
            </a:lvl8pPr>
            <a:lvl9pPr marL="1583375" lvl="8" indent="-183212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Char char="•"/>
              <a:defRPr sz="1500"/>
            </a:lvl9pPr>
          </a:lstStyle>
          <a:p>
            <a:endParaRPr/>
          </a:p>
        </p:txBody>
      </p:sp>
      <p:sp>
        <p:nvSpPr>
          <p:cNvPr id="289" name="Google Shape;289;p45"/>
          <p:cNvSpPr txBox="1">
            <a:spLocks noGrp="1"/>
          </p:cNvSpPr>
          <p:nvPr>
            <p:ph type="body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8796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/>
            </a:lvl1pPr>
            <a:lvl2pPr marL="351861" lvl="1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728"/>
              <a:buNone/>
              <a:defRPr sz="1050"/>
            </a:lvl2pPr>
            <a:lvl3pPr marL="527792" lvl="2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339"/>
              <a:buNone/>
              <a:defRPr sz="900"/>
            </a:lvl3pPr>
            <a:lvl4pPr marL="703722" lvl="3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4pPr>
            <a:lvl5pPr marL="879653" lvl="4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5pPr>
            <a:lvl6pPr marL="1055583" lvl="5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6pPr>
            <a:lvl7pPr marL="1231514" lvl="6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7pPr>
            <a:lvl8pPr marL="1407444" lvl="7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8pPr>
            <a:lvl9pPr marL="1583375" lvl="8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9pPr>
          </a:lstStyle>
          <a:p>
            <a:endParaRPr/>
          </a:p>
        </p:txBody>
      </p:sp>
      <p:sp>
        <p:nvSpPr>
          <p:cNvPr id="290" name="Google Shape;290;p45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91" name="Google Shape;291;p45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92" name="Google Shape;292;p45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77548132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46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236"/>
              <a:buFont typeface="Calibri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" name="Google Shape;295;p46"/>
          <p:cNvSpPr>
            <a:spLocks noGrp="1"/>
          </p:cNvSpPr>
          <p:nvPr>
            <p:ph type="pic" idx="2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6236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5457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4677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3898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96" name="Google Shape;296;p46"/>
          <p:cNvSpPr txBox="1">
            <a:spLocks noGrp="1"/>
          </p:cNvSpPr>
          <p:nvPr>
            <p:ph type="body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8796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118"/>
              <a:buNone/>
              <a:defRPr sz="1200"/>
            </a:lvl1pPr>
            <a:lvl2pPr marL="351861" lvl="1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728"/>
              <a:buNone/>
              <a:defRPr sz="1050"/>
            </a:lvl2pPr>
            <a:lvl3pPr marL="527792" lvl="2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339"/>
              <a:buNone/>
              <a:defRPr sz="900"/>
            </a:lvl3pPr>
            <a:lvl4pPr marL="703722" lvl="3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4pPr>
            <a:lvl5pPr marL="879653" lvl="4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5pPr>
            <a:lvl6pPr marL="1055583" lvl="5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6pPr>
            <a:lvl7pPr marL="1231514" lvl="6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7pPr>
            <a:lvl8pPr marL="1407444" lvl="7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8pPr>
            <a:lvl9pPr marL="1583375" lvl="8" indent="-8796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949"/>
              <a:buNone/>
              <a:defRPr sz="750"/>
            </a:lvl9pPr>
          </a:lstStyle>
          <a:p>
            <a:endParaRPr/>
          </a:p>
        </p:txBody>
      </p:sp>
      <p:sp>
        <p:nvSpPr>
          <p:cNvPr id="297" name="Google Shape;297;p46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98" name="Google Shape;298;p46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99" name="Google Shape;299;p46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58982916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p47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2" name="Google Shape;302;p47"/>
          <p:cNvSpPr txBox="1">
            <a:spLocks noGrp="1"/>
          </p:cNvSpPr>
          <p:nvPr>
            <p:ph type="body" idx="1"/>
          </p:nvPr>
        </p:nvSpPr>
        <p:spPr>
          <a:xfrm rot="5400000">
            <a:off x="2396331" y="57944"/>
            <a:ext cx="4351338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131948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351861" lvl="1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527792" lvl="2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703722" lvl="3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879653" lvl="4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055583" lvl="5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231514" lvl="6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407444" lvl="7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1583375" lvl="8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3" name="Google Shape;303;p47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04" name="Google Shape;304;p47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05" name="Google Shape;305;p47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8771358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48"/>
          <p:cNvSpPr txBox="1">
            <a:spLocks noGrp="1"/>
          </p:cNvSpPr>
          <p:nvPr>
            <p:ph type="title"/>
          </p:nvPr>
        </p:nvSpPr>
        <p:spPr>
          <a:xfrm rot="5400000">
            <a:off x="4623593" y="2285207"/>
            <a:ext cx="5811838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8" name="Google Shape;308;p48"/>
          <p:cNvSpPr txBox="1">
            <a:spLocks noGrp="1"/>
          </p:cNvSpPr>
          <p:nvPr>
            <p:ph type="body" idx="1"/>
          </p:nvPr>
        </p:nvSpPr>
        <p:spPr>
          <a:xfrm rot="5400000">
            <a:off x="623094" y="370682"/>
            <a:ext cx="5811838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175931" lvl="0" indent="-131948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351861" lvl="1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527792" lvl="2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703722" lvl="3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879653" lvl="4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1055583" lvl="5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1231514" lvl="6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1407444" lvl="7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1583375" lvl="8" indent="-131948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" name="Google Shape;309;p48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10" name="Google Shape;310;p48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11" name="Google Shape;311;p48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80111067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49"/>
          <p:cNvSpPr txBox="1">
            <a:spLocks noGrp="1"/>
          </p:cNvSpPr>
          <p:nvPr>
            <p:ph type="title"/>
          </p:nvPr>
        </p:nvSpPr>
        <p:spPr>
          <a:xfrm>
            <a:off x="467544" y="764704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744738621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ustom Layout">
  <p:cSld name="Custom Layout">
    <p:spTree>
      <p:nvGrpSpPr>
        <p:cNvPr id="1" name="Shape 31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62120339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3980ADB-3831-4C05-8AE0-AB4CE3D4F0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C06C888F-9F38-488F-A06C-5B8289612F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0C83A96-B972-481D-A899-620735825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386249D-1C8B-4875-A862-C6ABC052B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4694346-C964-472E-873F-D52394682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418516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3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7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</p:spTree>
    <p:extLst>
      <p:ext uri="{BB962C8B-B14F-4D97-AF65-F5344CB8AC3E}">
        <p14:creationId xmlns:p14="http://schemas.microsoft.com/office/powerpoint/2010/main" xmlns="" val="2578322173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3A3F644-C7F0-4D2C-A95A-677D1B43A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BB6B322-FFF5-47B6-AE4D-3D9AC2DCA2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B1CA9CC-08E8-4F8B-B8F3-C56383FB44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FFC6C38-C894-437F-88A0-379189ED2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4F99C29-F956-44E3-82EE-A4F72A218A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7909004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B1BC33F-29BE-4B3B-8564-B97429292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1AD266A-F952-4255-8D28-F00E4D6EAF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9074B64-6D49-4DB8-B1A9-DB65B23F3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AA4D311-BA3C-40DD-BDF5-FCBFB197B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E9B2802-43D2-4CE3-AE65-1CF073F66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6891738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5474278-4C6E-49E7-8781-998A43CE7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3F4258E-2D10-4F0C-8081-AB65405E4F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4E719F3-1DB2-41EA-950B-FE02F3BAE6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CE460AC-496B-4346-B779-61659CAFB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C281CA8-D979-4516-BFC7-2524CCC6DA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5972D74-9C93-4F2D-B3A4-F487949E0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67475472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F4BF72-413C-4836-8ACD-8351907C9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F4D5E3F-8C3C-4530-82E2-00417966B7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EEF55BD-2321-4580-AD83-D75C7969A5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4CB6F77-4334-4CD4-97BE-E03710E94CE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7A7819E-817A-4CD0-95BE-968CC9A6701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4EB69AB9-CDF8-4740-806B-52F30009B0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576CA4B6-809C-4182-8692-9DFBD5548E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DC398227-913A-4FA1-9820-C9A90970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2464463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35F69EB-8E63-482F-B952-8DE146010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43F14AB-0199-4390-9933-B2C0D15BFB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899FBB4-3540-4D3C-8F62-46E998902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F95F64C-9B77-4CA3-9776-8D104215B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45108320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7E01F5D5-D906-4266-BFE0-2BB80FD2AF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3D0CFC32-5733-4605-96FE-5A4DD09D0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D32BCFA-2F03-4258-BEB8-337A9A9508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3731382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7714B5E-6CFE-4A99-9CEA-DA7F96A2D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BF8C32E-BB87-4052-839B-141E48CBAE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063ABD6-BDE2-45AD-80D4-0F2888796F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3494B36-A8C1-49E2-8499-E1319F91A6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1876DED-1B6A-4D56-8D3D-EF57DC5D2C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0A7E8F4-55F0-4A19-B0D8-165F5DA36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81678047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8B745CE-555A-41C1-AAD8-DAF7C8E2AF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E6EF3DAF-E146-48F0-B500-DA9FDDE57F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D9573002-D326-4EE3-AAD0-555CC4418D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AEBA765-DA6C-40A1-88AD-95CCA76C70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B4CC66A-6046-45D6-B55F-EE192BC4B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46C5BB7-4E49-4942-B946-B5B119CF6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50574147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C31B06D-848F-4791-9E4A-901C110AC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AF209163-8B5D-4B06-88AC-33AA465C5A5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D566984-7874-412D-B14D-BE4681FD3A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4461CEF-6AA8-473C-B181-BFA3B3317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9E0BA76-A754-4174-9AAD-A655051E7B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90092527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D0089479-21B7-47B6-893C-DA26010A15D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1EB8EC8F-BB43-447E-9651-A629454AA3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3755210-F621-45D5-BB9E-9BAFB7307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F5ECF30-3319-4C3F-BEF5-1FC4C43EB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B20F0DE-66AF-4E90-ADF1-F51EAD5CB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056672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87618413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447039995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5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127"/>
              </a:spcBef>
              <a:defRPr sz="1097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5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844" b="0">
                <a:solidFill>
                  <a:schemeClr val="bg1"/>
                </a:solidFill>
              </a:defRPr>
            </a:lvl1pPr>
            <a:lvl2pPr marL="192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51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06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51"/>
            <a:ext cx="1584176" cy="365125"/>
          </a:xfrm>
        </p:spPr>
        <p:txBody>
          <a:bodyPr>
            <a:normAutofit/>
          </a:bodyPr>
          <a:lstStyle>
            <a:lvl1pPr algn="r">
              <a:defRPr sz="506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51"/>
            <a:ext cx="1944216" cy="365125"/>
          </a:xfrm>
        </p:spPr>
        <p:txBody>
          <a:bodyPr>
            <a:normAutofit/>
          </a:bodyPr>
          <a:lstStyle>
            <a:lvl1pPr algn="r">
              <a:defRPr sz="506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506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8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06614390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7" y="1196755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87214026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7" y="1196755"/>
            <a:ext cx="4060701" cy="4896073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1" y="1196755"/>
            <a:ext cx="4060701" cy="4896073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8193449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74512169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7" y="1412782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40974246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7" y="1412782"/>
            <a:ext cx="4060701" cy="4680049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1" y="1412782"/>
            <a:ext cx="4060701" cy="4680049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42711753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8063049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4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338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7" y="1196758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21750714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4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338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7" y="1196758"/>
            <a:ext cx="4060701" cy="4487075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1" y="1196758"/>
            <a:ext cx="4060701" cy="4487075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79030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3699751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4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338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309423856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4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338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7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9432322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7" y="1412781"/>
            <a:ext cx="4060701" cy="4281441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4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338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1" y="1412781"/>
            <a:ext cx="4060701" cy="4281441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4153322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4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338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79963880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92" y="2276878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135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5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7" y="5805265"/>
            <a:ext cx="8388425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506" dirty="0"/>
          </a:p>
        </p:txBody>
      </p:sp>
    </p:spTree>
    <p:extLst>
      <p:ext uri="{BB962C8B-B14F-4D97-AF65-F5344CB8AC3E}">
        <p14:creationId xmlns:p14="http://schemas.microsoft.com/office/powerpoint/2010/main" xmlns="" val="3761571466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3" y="1412781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82"/>
            <a:ext cx="5472608" cy="4680049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98283402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9" y="1412777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2" y="1412777"/>
            <a:ext cx="6004917" cy="4680048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22759060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90" y="1412777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7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2" y="3532181"/>
            <a:ext cx="8597205" cy="2551450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43634113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90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2" y="1412776"/>
            <a:ext cx="8597205" cy="2143224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5672016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3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3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8" y="3645024"/>
            <a:ext cx="262553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2" y="1412776"/>
            <a:ext cx="8597205" cy="2143224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605278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87796823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30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30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8" y="1412776"/>
            <a:ext cx="2625530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2" y="3703287"/>
            <a:ext cx="8597205" cy="2380344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77827203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3" y="1412777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3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3" y="4537585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61775017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5" y="1412777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5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5" y="4540294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591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3" y="1412782"/>
            <a:ext cx="5553983" cy="4665905"/>
          </a:xfrm>
        </p:spPr>
        <p:txBody>
          <a:bodyPr>
            <a:normAutofit/>
          </a:bodyPr>
          <a:lstStyle>
            <a:lvl1pPr>
              <a:defRPr sz="591"/>
            </a:lvl1pPr>
            <a:lvl2pPr>
              <a:defRPr sz="591"/>
            </a:lvl2pPr>
            <a:lvl3pPr>
              <a:defRPr sz="591"/>
            </a:lvl3pPr>
            <a:lvl4pPr>
              <a:defRPr sz="591"/>
            </a:lvl4pPr>
            <a:lvl5pPr>
              <a:defRPr sz="591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4"/>
            <a:ext cx="8597205" cy="288925"/>
          </a:xfrm>
        </p:spPr>
        <p:txBody>
          <a:bodyPr anchor="ctr">
            <a:noAutofit/>
          </a:bodyPr>
          <a:lstStyle>
            <a:lvl1pPr>
              <a:defRPr sz="76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82651338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7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64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9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59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9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464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464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15188" tIns="30375" rIns="15188" bIns="30375" rtlCol="0" anchor="ctr">
            <a:noAutofit/>
          </a:bodyPr>
          <a:lstStyle/>
          <a:p>
            <a:pPr lvl="0" indent="0">
              <a:spcBef>
                <a:spcPts val="127"/>
              </a:spcBef>
              <a:buFont typeface="Arial" pitchFamily="34" charset="0"/>
              <a:buNone/>
            </a:pPr>
            <a:r>
              <a:rPr lang="en-GB" sz="464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464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8" y="3497483"/>
            <a:ext cx="402674" cy="261610"/>
          </a:xfrm>
          <a:prstGeom prst="rect">
            <a:avLst/>
          </a:prstGeom>
        </p:spPr>
        <p:txBody>
          <a:bodyPr vert="horz" lIns="15188" tIns="30375" rIns="15188" bIns="30375" rtlCol="0" anchor="ctr">
            <a:noAutofit/>
          </a:bodyPr>
          <a:lstStyle/>
          <a:p>
            <a:pPr lvl="0" indent="0">
              <a:spcBef>
                <a:spcPts val="127"/>
              </a:spcBef>
              <a:buFont typeface="Arial" pitchFamily="34" charset="0"/>
              <a:buNone/>
            </a:pPr>
            <a:r>
              <a:rPr lang="en-GB" sz="464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60" cy="266322"/>
          </a:xfrm>
        </p:spPr>
        <p:txBody>
          <a:bodyPr lIns="36000" rIns="36000" anchor="ctr">
            <a:noAutofit/>
          </a:bodyPr>
          <a:lstStyle>
            <a:lvl1pPr>
              <a:defRPr sz="464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8" y="4043102"/>
            <a:ext cx="3734060" cy="261610"/>
          </a:xfrm>
          <a:prstGeom prst="rect">
            <a:avLst/>
          </a:prstGeom>
        </p:spPr>
        <p:txBody>
          <a:bodyPr vert="horz" lIns="15188" tIns="30375" rIns="15188" bIns="30375" rtlCol="0" anchor="ctr">
            <a:noAutofit/>
          </a:bodyPr>
          <a:lstStyle/>
          <a:p>
            <a:pPr lvl="0" indent="0">
              <a:spcBef>
                <a:spcPts val="127"/>
              </a:spcBef>
              <a:buFont typeface="Arial" pitchFamily="34" charset="0"/>
              <a:buNone/>
            </a:pPr>
            <a:r>
              <a:rPr lang="en-GB" sz="464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31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6" y="565703"/>
            <a:ext cx="1124026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1013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464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7" y="3284989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506" dirty="0"/>
          </a:p>
        </p:txBody>
      </p:sp>
    </p:spTree>
    <p:extLst>
      <p:ext uri="{BB962C8B-B14F-4D97-AF65-F5344CB8AC3E}">
        <p14:creationId xmlns:p14="http://schemas.microsoft.com/office/powerpoint/2010/main" xmlns="" val="2838231229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4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013"/>
              </a:spcAft>
            </a:pPr>
            <a:r>
              <a:rPr lang="en-US" sz="135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74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506" dirty="0"/>
          </a:p>
        </p:txBody>
      </p:sp>
    </p:spTree>
    <p:extLst>
      <p:ext uri="{BB962C8B-B14F-4D97-AF65-F5344CB8AC3E}">
        <p14:creationId xmlns:p14="http://schemas.microsoft.com/office/powerpoint/2010/main" xmlns="" val="170012644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253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013"/>
            </a:lvl1pPr>
            <a:lvl2pPr marL="192881" indent="0" algn="ctr">
              <a:buNone/>
              <a:defRPr sz="844"/>
            </a:lvl2pPr>
            <a:lvl3pPr marL="385763" indent="0" algn="ctr">
              <a:buNone/>
              <a:defRPr sz="760"/>
            </a:lvl3pPr>
            <a:lvl4pPr marL="578644" indent="0" algn="ctr">
              <a:buNone/>
              <a:defRPr sz="675"/>
            </a:lvl4pPr>
            <a:lvl5pPr marL="771525" indent="0" algn="ctr">
              <a:buNone/>
              <a:defRPr sz="675"/>
            </a:lvl5pPr>
            <a:lvl6pPr marL="964406" indent="0" algn="ctr">
              <a:buNone/>
              <a:defRPr sz="675"/>
            </a:lvl6pPr>
            <a:lvl7pPr marL="1157288" indent="0" algn="ctr">
              <a:buNone/>
              <a:defRPr sz="675"/>
            </a:lvl7pPr>
            <a:lvl8pPr marL="1350169" indent="0" algn="ctr">
              <a:buNone/>
              <a:defRPr sz="675"/>
            </a:lvl8pPr>
            <a:lvl9pPr marL="1543050" indent="0" algn="ctr">
              <a:buNone/>
              <a:defRPr sz="675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ED1C14C-A143-42F5-B247-D0E800131009}" type="datetimeFigureOut">
              <a:rPr lang="en-US" smtClean="0">
                <a:solidFill>
                  <a:prstClr val="black"/>
                </a:solidFill>
              </a:rPr>
              <a:pPr>
                <a:defRPr/>
              </a:pPr>
              <a:t>7/23/202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998F86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B03D32D-F1BC-4E9C-97E1-36CFF5B22341}" type="slidenum">
              <a:rPr lang="en-US" smtClean="0">
                <a:solidFill>
                  <a:srgbClr val="00339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9691293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169"/>
              </a:spcBef>
              <a:defRPr sz="1463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125" b="0">
                <a:solidFill>
                  <a:schemeClr val="bg1"/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9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19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9"/>
            <a:ext cx="1584176" cy="365125"/>
          </a:xfrm>
        </p:spPr>
        <p:txBody>
          <a:bodyPr>
            <a:normAutofit/>
          </a:bodyPr>
          <a:lstStyle>
            <a:lvl1pPr algn="r">
              <a:defRPr sz="619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9"/>
            <a:ext cx="1944216" cy="365125"/>
          </a:xfrm>
        </p:spPr>
        <p:txBody>
          <a:bodyPr>
            <a:normAutofit/>
          </a:bodyPr>
          <a:lstStyle>
            <a:lvl1pPr algn="r">
              <a:defRPr sz="619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Health\WCG - Logo - Health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0652" y="382532"/>
            <a:ext cx="5739912" cy="162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84340842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7" y="1196755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52072233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7" y="1196755"/>
            <a:ext cx="4060701" cy="4896073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1" y="1196755"/>
            <a:ext cx="4060701" cy="4896073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67083641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297598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08797823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7" y="1412780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8093450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7" y="1412780"/>
            <a:ext cx="4060701" cy="4680049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1" y="1412780"/>
            <a:ext cx="4060701" cy="4680049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912976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548907345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7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5004549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7" y="1196752"/>
            <a:ext cx="4060701" cy="4487075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1" y="1196752"/>
            <a:ext cx="4060701" cy="4487075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23865210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23583972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7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94660285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7" y="1412780"/>
            <a:ext cx="4060701" cy="4281441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1" y="1412780"/>
            <a:ext cx="4060701" cy="4281441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38445511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7" y="5681852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45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07750059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90" y="2276876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1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4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82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922902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557422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2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80"/>
            <a:ext cx="5472608" cy="4680049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81969789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8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2" y="1412777"/>
            <a:ext cx="6004917" cy="4680048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62085415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2" y="3532181"/>
            <a:ext cx="8597205" cy="2551450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95132481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2" y="1412776"/>
            <a:ext cx="8597205" cy="2143224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01431385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9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9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2" y="1412776"/>
            <a:ext cx="8597205" cy="2143224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0044362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9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9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2" y="3703287"/>
            <a:ext cx="8597205" cy="2380344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57754356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2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2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2971747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4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4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4" y="4540293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788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2" y="1412781"/>
            <a:ext cx="5553983" cy="4665905"/>
          </a:xfrm>
        </p:spPr>
        <p:txBody>
          <a:bodyPr>
            <a:normAutofit/>
          </a:bodyPr>
          <a:lstStyle>
            <a:lvl1pPr>
              <a:defRPr sz="788"/>
            </a:lvl1pPr>
            <a:lvl2pPr>
              <a:defRPr sz="788"/>
            </a:lvl2pPr>
            <a:lvl3pPr>
              <a:defRPr sz="788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013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45743357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013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9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788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9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619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619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0250" tIns="40500" rIns="20250" bIns="40500" rtlCol="0" anchor="ctr">
            <a:noAutofit/>
          </a:bodyPr>
          <a:lstStyle/>
          <a:p>
            <a:pPr lvl="0" indent="0">
              <a:spcBef>
                <a:spcPts val="169"/>
              </a:spcBef>
              <a:buFont typeface="Arial" pitchFamily="34" charset="0"/>
              <a:buNone/>
            </a:pPr>
            <a:r>
              <a:rPr lang="en-GB" sz="619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619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8" y="3497483"/>
            <a:ext cx="402674" cy="261610"/>
          </a:xfrm>
          <a:prstGeom prst="rect">
            <a:avLst/>
          </a:prstGeom>
        </p:spPr>
        <p:txBody>
          <a:bodyPr vert="horz" lIns="20250" tIns="40500" rIns="20250" bIns="40500" rtlCol="0" anchor="ctr">
            <a:noAutofit/>
          </a:bodyPr>
          <a:lstStyle/>
          <a:p>
            <a:pPr lvl="0" indent="0">
              <a:spcBef>
                <a:spcPts val="169"/>
              </a:spcBef>
              <a:buFont typeface="Arial" pitchFamily="34" charset="0"/>
              <a:buNone/>
            </a:pPr>
            <a:r>
              <a:rPr lang="en-GB" sz="619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9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619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8" y="4043102"/>
            <a:ext cx="3734059" cy="261610"/>
          </a:xfrm>
          <a:prstGeom prst="rect">
            <a:avLst/>
          </a:prstGeom>
        </p:spPr>
        <p:txBody>
          <a:bodyPr vert="horz" lIns="20250" tIns="40500" rIns="20250" bIns="40500" rtlCol="0" anchor="ctr">
            <a:noAutofit/>
          </a:bodyPr>
          <a:lstStyle/>
          <a:p>
            <a:pPr lvl="0" indent="0">
              <a:spcBef>
                <a:spcPts val="169"/>
              </a:spcBef>
              <a:buFont typeface="Arial" pitchFamily="34" charset="0"/>
              <a:buNone/>
            </a:pPr>
            <a:r>
              <a:rPr lang="en-GB" sz="619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6" y="565704"/>
            <a:ext cx="14318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135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619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Health\WCG - Logo - Health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8002" y="1911739"/>
            <a:ext cx="2414658" cy="680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98666799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2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350"/>
              </a:spcAft>
            </a:pPr>
            <a:r>
              <a:rPr lang="en-US" sz="18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4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246474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6429003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D3553A7-B597-47B7-A4FD-17F7F3EBF6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1014EE2B-D204-412F-8327-02860EBD70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D61CCF9-7935-4174-B90E-5829410DCC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7D3BE6E-E208-4D02-BF69-6AE24A03B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7C9B712-C68C-4E68-95CE-B83C65F71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75275234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2273D32-A829-4FA2-BB0D-371DF32F5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FE92524-4085-4BD1-A487-1A0BF51D08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2E9F834-868A-4E76-B549-948AC2E96E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337C8DA-32A9-48FB-AC04-EC7E5E373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1FE885A-A56F-4DD3-A65A-56AA3CBE05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938718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1E8C52-0B47-4981-B0AE-9B04344CC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A6ED98D-12D3-47D3-A9D9-1454EA4E77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92812A1-276E-4D86-93EF-01A3840C9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6166424-1153-479B-AB23-C6E35DCC1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5E005A1-97BD-46A0-BF37-7D481EF6C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555441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2E7C75-32DB-4DA2-89D8-018BEE74B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649534F-2C39-40C2-AA30-B2171FE934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47FD145-63DC-46DE-928F-C0E01CF6EE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D136FAF-967D-4062-BC94-A3F143184B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A0034F5-2D62-4F62-92D9-1B2618468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F2957D0-D88F-4CE5-9490-491985D76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614495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8F5349D-ECED-4CD0-8FD3-E05D7B357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7EC8AC6-0DC7-4181-ADB9-3F9DA4FA7C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969D608-E188-40C5-A582-C2D1E8CCD3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8FAF67D4-FB07-4C6F-B419-E9EFDE767C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BA679916-F460-4DF1-9E53-848928ABA3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E0CBBFEB-5BF6-4B23-8D57-0C8491546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9FA1E04-B0AC-4AE7-A39D-36D854ACCB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E1C06039-B5D2-4BAF-B916-78B342CC28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8773613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0C53740-0EF2-4D44-A46F-7740ACA0B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54CD8BCD-CA49-4A03-AAFE-431CE1DBB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CB9D0D7B-40B7-4473-809E-A8C95E858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9852D9F-2002-4A9A-81A0-5E7DB4A5B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259906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293E917-4179-4C4B-A2F5-BED49D2F3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FBA3BA9F-5CD5-4356-9932-2BF5309CD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E702771-A479-4C85-92D8-C87838420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8076521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39D7C9-827B-4A37-A5B1-DB21C8C58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ADA6788-657E-4335-A1B9-4393686F81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89FA36E-3108-4566-82F9-9D35222AF9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E6A6F5F-51C3-4A78-AAEB-2BBE272406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10894F5-BC25-4136-A848-22A52FB7F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C921D54-0860-4E02-9DAA-94054ACEE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1772934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7971CE-D3C7-44DC-B607-ADD261736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D169D804-2D10-40AD-9F27-28ABEE3BDF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C614441-09D9-4E9E-B9D7-DA9504C93E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B93F14A-7B26-40BA-B6E6-9A5D9A32D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F675880-D2E8-48E9-9631-93B3EAB7E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C657CBB-401C-4035-89BA-12A08B3617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3649817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7BA568E-9FEE-41E3-AED6-7BB6CBC74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F16387C-CD27-4FAB-BBE9-87EBC21D7E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20449B5-5561-4B5B-BE0B-795FBD6F06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7690D62-B407-49D3-B859-5940A4760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07C450C-A1C2-4028-B70F-9C1B99BF9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67269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93346419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B21F7757-D68B-4C6F-86B4-44D1D1EB67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DCFCB17-D469-4F73-88CD-7C9CFFB46C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78F9878-AC4A-4839-A8FB-69212DC0ED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BD64DB4-90E2-41FE-BF03-9EC6F529D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70913AB-9D0B-49DA-98EB-613B1A990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1660926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30543785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13791512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48379067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49606724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60617145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28073734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293255926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7747783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129274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77431551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405265814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15700695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06743505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7753704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18137955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14593003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00478850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32724874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38148351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131644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 lvl="0" indent="0"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7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 lvl="0" indent="0"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5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 lvl="0" indent="0"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7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6" y="565703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18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6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</p:spTree>
    <p:extLst>
      <p:ext uri="{BB962C8B-B14F-4D97-AF65-F5344CB8AC3E}">
        <p14:creationId xmlns:p14="http://schemas.microsoft.com/office/powerpoint/2010/main" xmlns="" val="1233259743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14025832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60326477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7404419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70081996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14010207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5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7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7" y="1266826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13746776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70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</p:spTree>
    <p:extLst>
      <p:ext uri="{BB962C8B-B14F-4D97-AF65-F5344CB8AC3E}">
        <p14:creationId xmlns:p14="http://schemas.microsoft.com/office/powerpoint/2010/main" xmlns="" val="1050623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7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36155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996633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937026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781392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869500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59507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9118693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099419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907489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6193344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44833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932523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297892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3496349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92348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397410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007789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4682324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332368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535354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29175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26623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29039476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39153411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7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885846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341791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5233647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7071190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147902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743616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47054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4664271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7204894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5315166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823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680443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6424752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42184857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039517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275386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60357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360968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824103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494547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4836322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806336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137530448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169089441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5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5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7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3 July 2021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2276874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488488" y="620688"/>
            <a:ext cx="3246314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1199275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6042018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1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056019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18" Type="http://schemas.openxmlformats.org/officeDocument/2006/relationships/slideLayout" Target="../slideLayouts/slideLayout235.xml"/><Relationship Id="rId26" Type="http://schemas.openxmlformats.org/officeDocument/2006/relationships/vmlDrawing" Target="../drawings/vmlDrawing11.vml"/><Relationship Id="rId3" Type="http://schemas.openxmlformats.org/officeDocument/2006/relationships/slideLayout" Target="../slideLayouts/slideLayout220.xml"/><Relationship Id="rId21" Type="http://schemas.openxmlformats.org/officeDocument/2006/relationships/slideLayout" Target="../slideLayouts/slideLayout238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slideLayout" Target="../slideLayouts/slideLayout234.xml"/><Relationship Id="rId25" Type="http://schemas.openxmlformats.org/officeDocument/2006/relationships/theme" Target="../theme/theme11.xml"/><Relationship Id="rId33" Type="http://schemas.openxmlformats.org/officeDocument/2006/relationships/image" Target="../media/image16.png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20" Type="http://schemas.openxmlformats.org/officeDocument/2006/relationships/slideLayout" Target="../slideLayouts/slideLayout237.xml"/><Relationship Id="rId29" Type="http://schemas.openxmlformats.org/officeDocument/2006/relationships/tags" Target="../tags/tag345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24" Type="http://schemas.openxmlformats.org/officeDocument/2006/relationships/slideLayout" Target="../slideLayouts/slideLayout241.xml"/><Relationship Id="rId32" Type="http://schemas.openxmlformats.org/officeDocument/2006/relationships/image" Target="../media/image11.jpeg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23" Type="http://schemas.openxmlformats.org/officeDocument/2006/relationships/slideLayout" Target="../slideLayouts/slideLayout240.xml"/><Relationship Id="rId28" Type="http://schemas.openxmlformats.org/officeDocument/2006/relationships/tags" Target="../tags/tag344.xml"/><Relationship Id="rId10" Type="http://schemas.openxmlformats.org/officeDocument/2006/relationships/slideLayout" Target="../slideLayouts/slideLayout227.xml"/><Relationship Id="rId19" Type="http://schemas.openxmlformats.org/officeDocument/2006/relationships/slideLayout" Target="../slideLayouts/slideLayout236.xml"/><Relationship Id="rId31" Type="http://schemas.openxmlformats.org/officeDocument/2006/relationships/oleObject" Target="../embeddings/oleObject11.bin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Relationship Id="rId22" Type="http://schemas.openxmlformats.org/officeDocument/2006/relationships/slideLayout" Target="../slideLayouts/slideLayout239.xml"/><Relationship Id="rId27" Type="http://schemas.openxmlformats.org/officeDocument/2006/relationships/tags" Target="../tags/tag343.xml"/><Relationship Id="rId30" Type="http://schemas.openxmlformats.org/officeDocument/2006/relationships/tags" Target="../tags/tag34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7.xml"/><Relationship Id="rId3" Type="http://schemas.openxmlformats.org/officeDocument/2006/relationships/slideLayout" Target="../slideLayouts/slideLayout244.xml"/><Relationship Id="rId21" Type="http://schemas.openxmlformats.org/officeDocument/2006/relationships/slideLayout" Target="../slideLayouts/slideLayout262.xml"/><Relationship Id="rId34" Type="http://schemas.openxmlformats.org/officeDocument/2006/relationships/tags" Target="../tags/tag392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33" Type="http://schemas.openxmlformats.org/officeDocument/2006/relationships/tags" Target="../tags/tag391.xml"/><Relationship Id="rId38" Type="http://schemas.openxmlformats.org/officeDocument/2006/relationships/image" Target="../media/image3.png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0" Type="http://schemas.openxmlformats.org/officeDocument/2006/relationships/slideLayout" Target="../slideLayouts/slideLayout261.xml"/><Relationship Id="rId29" Type="http://schemas.openxmlformats.org/officeDocument/2006/relationships/tags" Target="../tags/tag387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32" Type="http://schemas.openxmlformats.org/officeDocument/2006/relationships/tags" Target="../tags/tag390.xml"/><Relationship Id="rId37" Type="http://schemas.openxmlformats.org/officeDocument/2006/relationships/image" Target="../media/image21.png"/><Relationship Id="rId5" Type="http://schemas.openxmlformats.org/officeDocument/2006/relationships/slideLayout" Target="../slideLayouts/slideLayout246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vmlDrawing" Target="../drawings/vmlDrawing12.vml"/><Relationship Id="rId36" Type="http://schemas.openxmlformats.org/officeDocument/2006/relationships/image" Target="../media/image11.jpeg"/><Relationship Id="rId10" Type="http://schemas.openxmlformats.org/officeDocument/2006/relationships/slideLayout" Target="../slideLayouts/slideLayout251.xml"/><Relationship Id="rId19" Type="http://schemas.openxmlformats.org/officeDocument/2006/relationships/slideLayout" Target="../slideLayouts/slideLayout260.xml"/><Relationship Id="rId31" Type="http://schemas.openxmlformats.org/officeDocument/2006/relationships/tags" Target="../tags/tag389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theme" Target="../theme/theme12.xml"/><Relationship Id="rId30" Type="http://schemas.openxmlformats.org/officeDocument/2006/relationships/tags" Target="../tags/tag388.xml"/><Relationship Id="rId35" Type="http://schemas.openxmlformats.org/officeDocument/2006/relationships/oleObject" Target="../embeddings/oleObject12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5.xml"/><Relationship Id="rId13" Type="http://schemas.openxmlformats.org/officeDocument/2006/relationships/slideLayout" Target="../slideLayouts/slideLayout280.xml"/><Relationship Id="rId18" Type="http://schemas.openxmlformats.org/officeDocument/2006/relationships/slideLayout" Target="../slideLayouts/slideLayout285.xml"/><Relationship Id="rId26" Type="http://schemas.openxmlformats.org/officeDocument/2006/relationships/theme" Target="../theme/theme13.xml"/><Relationship Id="rId3" Type="http://schemas.openxmlformats.org/officeDocument/2006/relationships/slideLayout" Target="../slideLayouts/slideLayout270.xml"/><Relationship Id="rId21" Type="http://schemas.openxmlformats.org/officeDocument/2006/relationships/slideLayout" Target="../slideLayouts/slideLayout288.xml"/><Relationship Id="rId34" Type="http://schemas.openxmlformats.org/officeDocument/2006/relationships/image" Target="../media/image7.png"/><Relationship Id="rId7" Type="http://schemas.openxmlformats.org/officeDocument/2006/relationships/slideLayout" Target="../slideLayouts/slideLayout274.xml"/><Relationship Id="rId12" Type="http://schemas.openxmlformats.org/officeDocument/2006/relationships/slideLayout" Target="../slideLayouts/slideLayout279.xml"/><Relationship Id="rId17" Type="http://schemas.openxmlformats.org/officeDocument/2006/relationships/slideLayout" Target="../slideLayouts/slideLayout284.xml"/><Relationship Id="rId25" Type="http://schemas.openxmlformats.org/officeDocument/2006/relationships/slideLayout" Target="../slideLayouts/slideLayout292.xml"/><Relationship Id="rId33" Type="http://schemas.openxmlformats.org/officeDocument/2006/relationships/oleObject" Target="../embeddings/oleObject13.bin"/><Relationship Id="rId2" Type="http://schemas.openxmlformats.org/officeDocument/2006/relationships/slideLayout" Target="../slideLayouts/slideLayout269.xml"/><Relationship Id="rId16" Type="http://schemas.openxmlformats.org/officeDocument/2006/relationships/slideLayout" Target="../slideLayouts/slideLayout283.xml"/><Relationship Id="rId20" Type="http://schemas.openxmlformats.org/officeDocument/2006/relationships/slideLayout" Target="../slideLayouts/slideLayout287.xml"/><Relationship Id="rId29" Type="http://schemas.openxmlformats.org/officeDocument/2006/relationships/tags" Target="../tags/tag435.xml"/><Relationship Id="rId1" Type="http://schemas.openxmlformats.org/officeDocument/2006/relationships/slideLayout" Target="../slideLayouts/slideLayout268.xml"/><Relationship Id="rId6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78.xml"/><Relationship Id="rId24" Type="http://schemas.openxmlformats.org/officeDocument/2006/relationships/slideLayout" Target="../slideLayouts/slideLayout291.xml"/><Relationship Id="rId32" Type="http://schemas.openxmlformats.org/officeDocument/2006/relationships/tags" Target="../tags/tag438.xml"/><Relationship Id="rId5" Type="http://schemas.openxmlformats.org/officeDocument/2006/relationships/slideLayout" Target="../slideLayouts/slideLayout272.xml"/><Relationship Id="rId15" Type="http://schemas.openxmlformats.org/officeDocument/2006/relationships/slideLayout" Target="../slideLayouts/slideLayout282.xml"/><Relationship Id="rId23" Type="http://schemas.openxmlformats.org/officeDocument/2006/relationships/slideLayout" Target="../slideLayouts/slideLayout290.xml"/><Relationship Id="rId28" Type="http://schemas.openxmlformats.org/officeDocument/2006/relationships/tags" Target="../tags/tag434.xml"/><Relationship Id="rId10" Type="http://schemas.openxmlformats.org/officeDocument/2006/relationships/slideLayout" Target="../slideLayouts/slideLayout277.xml"/><Relationship Id="rId19" Type="http://schemas.openxmlformats.org/officeDocument/2006/relationships/slideLayout" Target="../slideLayouts/slideLayout286.xml"/><Relationship Id="rId31" Type="http://schemas.openxmlformats.org/officeDocument/2006/relationships/tags" Target="../tags/tag437.xml"/><Relationship Id="rId4" Type="http://schemas.openxmlformats.org/officeDocument/2006/relationships/slideLayout" Target="../slideLayouts/slideLayout271.xml"/><Relationship Id="rId9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81.xml"/><Relationship Id="rId22" Type="http://schemas.openxmlformats.org/officeDocument/2006/relationships/slideLayout" Target="../slideLayouts/slideLayout289.xml"/><Relationship Id="rId27" Type="http://schemas.openxmlformats.org/officeDocument/2006/relationships/vmlDrawing" Target="../drawings/vmlDrawing13.vml"/><Relationship Id="rId30" Type="http://schemas.openxmlformats.org/officeDocument/2006/relationships/tags" Target="../tags/tag436.xml"/><Relationship Id="rId35" Type="http://schemas.openxmlformats.org/officeDocument/2006/relationships/image" Target="../media/image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0.xml"/><Relationship Id="rId3" Type="http://schemas.openxmlformats.org/officeDocument/2006/relationships/slideLayout" Target="../slideLayouts/slideLayout295.xml"/><Relationship Id="rId7" Type="http://schemas.openxmlformats.org/officeDocument/2006/relationships/slideLayout" Target="../slideLayouts/slideLayout299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294.xml"/><Relationship Id="rId1" Type="http://schemas.openxmlformats.org/officeDocument/2006/relationships/slideLayout" Target="../slideLayouts/slideLayout293.xml"/><Relationship Id="rId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303.xml"/><Relationship Id="rId5" Type="http://schemas.openxmlformats.org/officeDocument/2006/relationships/slideLayout" Target="../slideLayouts/slideLayout297.xml"/><Relationship Id="rId10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96.xml"/><Relationship Id="rId9" Type="http://schemas.openxmlformats.org/officeDocument/2006/relationships/slideLayout" Target="../slideLayouts/slideLayout30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slideLayout" Target="../slideLayouts/slideLayout316.xml"/><Relationship Id="rId18" Type="http://schemas.openxmlformats.org/officeDocument/2006/relationships/slideLayout" Target="../slideLayouts/slideLayout321.xml"/><Relationship Id="rId26" Type="http://schemas.openxmlformats.org/officeDocument/2006/relationships/theme" Target="../theme/theme15.xml"/><Relationship Id="rId3" Type="http://schemas.openxmlformats.org/officeDocument/2006/relationships/slideLayout" Target="../slideLayouts/slideLayout306.xml"/><Relationship Id="rId21" Type="http://schemas.openxmlformats.org/officeDocument/2006/relationships/slideLayout" Target="../slideLayouts/slideLayout324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17" Type="http://schemas.openxmlformats.org/officeDocument/2006/relationships/slideLayout" Target="../slideLayouts/slideLayout320.xml"/><Relationship Id="rId25" Type="http://schemas.openxmlformats.org/officeDocument/2006/relationships/slideLayout" Target="../slideLayouts/slideLayout328.xml"/><Relationship Id="rId33" Type="http://schemas.openxmlformats.org/officeDocument/2006/relationships/oleObject" Target="../embeddings/oleObject14.bin"/><Relationship Id="rId2" Type="http://schemas.openxmlformats.org/officeDocument/2006/relationships/slideLayout" Target="../slideLayouts/slideLayout305.xml"/><Relationship Id="rId16" Type="http://schemas.openxmlformats.org/officeDocument/2006/relationships/slideLayout" Target="../slideLayouts/slideLayout319.xml"/><Relationship Id="rId20" Type="http://schemas.openxmlformats.org/officeDocument/2006/relationships/slideLayout" Target="../slideLayouts/slideLayout323.xml"/><Relationship Id="rId29" Type="http://schemas.openxmlformats.org/officeDocument/2006/relationships/tags" Target="../tags/tag480.xml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24" Type="http://schemas.openxmlformats.org/officeDocument/2006/relationships/slideLayout" Target="../slideLayouts/slideLayout327.xml"/><Relationship Id="rId32" Type="http://schemas.openxmlformats.org/officeDocument/2006/relationships/tags" Target="../tags/tag483.xml"/><Relationship Id="rId5" Type="http://schemas.openxmlformats.org/officeDocument/2006/relationships/slideLayout" Target="../slideLayouts/slideLayout308.xml"/><Relationship Id="rId15" Type="http://schemas.openxmlformats.org/officeDocument/2006/relationships/slideLayout" Target="../slideLayouts/slideLayout318.xml"/><Relationship Id="rId23" Type="http://schemas.openxmlformats.org/officeDocument/2006/relationships/slideLayout" Target="../slideLayouts/slideLayout326.xml"/><Relationship Id="rId28" Type="http://schemas.openxmlformats.org/officeDocument/2006/relationships/tags" Target="../tags/tag479.xml"/><Relationship Id="rId10" Type="http://schemas.openxmlformats.org/officeDocument/2006/relationships/slideLayout" Target="../slideLayouts/slideLayout313.xml"/><Relationship Id="rId19" Type="http://schemas.openxmlformats.org/officeDocument/2006/relationships/slideLayout" Target="../slideLayouts/slideLayout322.xml"/><Relationship Id="rId31" Type="http://schemas.openxmlformats.org/officeDocument/2006/relationships/tags" Target="../tags/tag482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slideLayout" Target="../slideLayouts/slideLayout317.xml"/><Relationship Id="rId22" Type="http://schemas.openxmlformats.org/officeDocument/2006/relationships/slideLayout" Target="../slideLayouts/slideLayout325.xml"/><Relationship Id="rId27" Type="http://schemas.openxmlformats.org/officeDocument/2006/relationships/vmlDrawing" Target="../drawings/vmlDrawing14.vml"/><Relationship Id="rId30" Type="http://schemas.openxmlformats.org/officeDocument/2006/relationships/tags" Target="../tags/tag481.xml"/><Relationship Id="rId35" Type="http://schemas.openxmlformats.org/officeDocument/2006/relationships/image" Target="../media/image3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6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331.xml"/><Relationship Id="rId7" Type="http://schemas.openxmlformats.org/officeDocument/2006/relationships/slideLayout" Target="../slideLayouts/slideLayout335.xml"/><Relationship Id="rId12" Type="http://schemas.openxmlformats.org/officeDocument/2006/relationships/slideLayout" Target="../slideLayouts/slideLayout340.xml"/><Relationship Id="rId2" Type="http://schemas.openxmlformats.org/officeDocument/2006/relationships/slideLayout" Target="../slideLayouts/slideLayout330.xml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1" Type="http://schemas.openxmlformats.org/officeDocument/2006/relationships/slideLayout" Target="../slideLayouts/slideLayout339.xml"/><Relationship Id="rId5" Type="http://schemas.openxmlformats.org/officeDocument/2006/relationships/slideLayout" Target="../slideLayouts/slideLayout333.xml"/><Relationship Id="rId10" Type="http://schemas.openxmlformats.org/officeDocument/2006/relationships/slideLayout" Target="../slideLayouts/slideLayout338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8.xml"/><Relationship Id="rId13" Type="http://schemas.openxmlformats.org/officeDocument/2006/relationships/slideLayout" Target="../slideLayouts/slideLayout353.xml"/><Relationship Id="rId18" Type="http://schemas.openxmlformats.org/officeDocument/2006/relationships/slideLayout" Target="../slideLayouts/slideLayout358.xml"/><Relationship Id="rId26" Type="http://schemas.openxmlformats.org/officeDocument/2006/relationships/theme" Target="../theme/theme17.xml"/><Relationship Id="rId3" Type="http://schemas.openxmlformats.org/officeDocument/2006/relationships/slideLayout" Target="../slideLayouts/slideLayout343.xml"/><Relationship Id="rId21" Type="http://schemas.openxmlformats.org/officeDocument/2006/relationships/slideLayout" Target="../slideLayouts/slideLayout361.xml"/><Relationship Id="rId7" Type="http://schemas.openxmlformats.org/officeDocument/2006/relationships/slideLayout" Target="../slideLayouts/slideLayout347.xml"/><Relationship Id="rId12" Type="http://schemas.openxmlformats.org/officeDocument/2006/relationships/slideLayout" Target="../slideLayouts/slideLayout352.xml"/><Relationship Id="rId17" Type="http://schemas.openxmlformats.org/officeDocument/2006/relationships/slideLayout" Target="../slideLayouts/slideLayout357.xml"/><Relationship Id="rId25" Type="http://schemas.openxmlformats.org/officeDocument/2006/relationships/slideLayout" Target="../slideLayouts/slideLayout365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342.xml"/><Relationship Id="rId16" Type="http://schemas.openxmlformats.org/officeDocument/2006/relationships/slideLayout" Target="../slideLayouts/slideLayout356.xml"/><Relationship Id="rId20" Type="http://schemas.openxmlformats.org/officeDocument/2006/relationships/slideLayout" Target="../slideLayouts/slideLayout360.xml"/><Relationship Id="rId29" Type="http://schemas.openxmlformats.org/officeDocument/2006/relationships/tags" Target="../tags/tag527.xml"/><Relationship Id="rId1" Type="http://schemas.openxmlformats.org/officeDocument/2006/relationships/slideLayout" Target="../slideLayouts/slideLayout341.xml"/><Relationship Id="rId6" Type="http://schemas.openxmlformats.org/officeDocument/2006/relationships/slideLayout" Target="../slideLayouts/slideLayout346.xml"/><Relationship Id="rId11" Type="http://schemas.openxmlformats.org/officeDocument/2006/relationships/slideLayout" Target="../slideLayouts/slideLayout351.xml"/><Relationship Id="rId24" Type="http://schemas.openxmlformats.org/officeDocument/2006/relationships/slideLayout" Target="../slideLayouts/slideLayout36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345.xml"/><Relationship Id="rId15" Type="http://schemas.openxmlformats.org/officeDocument/2006/relationships/slideLayout" Target="../slideLayouts/slideLayout355.xml"/><Relationship Id="rId23" Type="http://schemas.openxmlformats.org/officeDocument/2006/relationships/slideLayout" Target="../slideLayouts/slideLayout363.xml"/><Relationship Id="rId28" Type="http://schemas.openxmlformats.org/officeDocument/2006/relationships/tags" Target="../tags/tag526.xml"/><Relationship Id="rId10" Type="http://schemas.openxmlformats.org/officeDocument/2006/relationships/slideLayout" Target="../slideLayouts/slideLayout350.xml"/><Relationship Id="rId19" Type="http://schemas.openxmlformats.org/officeDocument/2006/relationships/slideLayout" Target="../slideLayouts/slideLayout359.xml"/><Relationship Id="rId31" Type="http://schemas.openxmlformats.org/officeDocument/2006/relationships/oleObject" Target="../embeddings/oleObject15.bin"/><Relationship Id="rId4" Type="http://schemas.openxmlformats.org/officeDocument/2006/relationships/slideLayout" Target="../slideLayouts/slideLayout344.xml"/><Relationship Id="rId9" Type="http://schemas.openxmlformats.org/officeDocument/2006/relationships/slideLayout" Target="../slideLayouts/slideLayout349.xml"/><Relationship Id="rId14" Type="http://schemas.openxmlformats.org/officeDocument/2006/relationships/slideLayout" Target="../slideLayouts/slideLayout354.xml"/><Relationship Id="rId22" Type="http://schemas.openxmlformats.org/officeDocument/2006/relationships/slideLayout" Target="../slideLayouts/slideLayout362.xml"/><Relationship Id="rId27" Type="http://schemas.openxmlformats.org/officeDocument/2006/relationships/vmlDrawing" Target="../drawings/vmlDrawing15.vml"/><Relationship Id="rId30" Type="http://schemas.openxmlformats.org/officeDocument/2006/relationships/tags" Target="../tags/tag52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3.xml"/><Relationship Id="rId13" Type="http://schemas.openxmlformats.org/officeDocument/2006/relationships/slideLayout" Target="../slideLayouts/slideLayout378.xml"/><Relationship Id="rId3" Type="http://schemas.openxmlformats.org/officeDocument/2006/relationships/slideLayout" Target="../slideLayouts/slideLayout368.xml"/><Relationship Id="rId7" Type="http://schemas.openxmlformats.org/officeDocument/2006/relationships/slideLayout" Target="../slideLayouts/slideLayout372.xml"/><Relationship Id="rId12" Type="http://schemas.openxmlformats.org/officeDocument/2006/relationships/slideLayout" Target="../slideLayouts/slideLayout377.xml"/><Relationship Id="rId2" Type="http://schemas.openxmlformats.org/officeDocument/2006/relationships/slideLayout" Target="../slideLayouts/slideLayout367.xml"/><Relationship Id="rId1" Type="http://schemas.openxmlformats.org/officeDocument/2006/relationships/slideLayout" Target="../slideLayouts/slideLayout366.xml"/><Relationship Id="rId6" Type="http://schemas.openxmlformats.org/officeDocument/2006/relationships/slideLayout" Target="../slideLayouts/slideLayout371.xml"/><Relationship Id="rId11" Type="http://schemas.openxmlformats.org/officeDocument/2006/relationships/slideLayout" Target="../slideLayouts/slideLayout376.xml"/><Relationship Id="rId5" Type="http://schemas.openxmlformats.org/officeDocument/2006/relationships/slideLayout" Target="../slideLayouts/slideLayout370.xml"/><Relationship Id="rId10" Type="http://schemas.openxmlformats.org/officeDocument/2006/relationships/slideLayout" Target="../slideLayouts/slideLayout375.xml"/><Relationship Id="rId4" Type="http://schemas.openxmlformats.org/officeDocument/2006/relationships/slideLayout" Target="../slideLayouts/slideLayout369.xml"/><Relationship Id="rId9" Type="http://schemas.openxmlformats.org/officeDocument/2006/relationships/slideLayout" Target="../slideLayouts/slideLayout374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6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381.xml"/><Relationship Id="rId7" Type="http://schemas.openxmlformats.org/officeDocument/2006/relationships/slideLayout" Target="../slideLayouts/slideLayout385.xml"/><Relationship Id="rId12" Type="http://schemas.openxmlformats.org/officeDocument/2006/relationships/slideLayout" Target="../slideLayouts/slideLayout390.xml"/><Relationship Id="rId2" Type="http://schemas.openxmlformats.org/officeDocument/2006/relationships/slideLayout" Target="../slideLayouts/slideLayout380.xml"/><Relationship Id="rId1" Type="http://schemas.openxmlformats.org/officeDocument/2006/relationships/slideLayout" Target="../slideLayouts/slideLayout379.xml"/><Relationship Id="rId6" Type="http://schemas.openxmlformats.org/officeDocument/2006/relationships/slideLayout" Target="../slideLayouts/slideLayout384.xml"/><Relationship Id="rId11" Type="http://schemas.openxmlformats.org/officeDocument/2006/relationships/slideLayout" Target="../slideLayouts/slideLayout389.xml"/><Relationship Id="rId5" Type="http://schemas.openxmlformats.org/officeDocument/2006/relationships/slideLayout" Target="../slideLayouts/slideLayout383.xml"/><Relationship Id="rId10" Type="http://schemas.openxmlformats.org/officeDocument/2006/relationships/slideLayout" Target="../slideLayouts/slideLayout388.xml"/><Relationship Id="rId4" Type="http://schemas.openxmlformats.org/officeDocument/2006/relationships/slideLayout" Target="../slideLayouts/slideLayout382.xml"/><Relationship Id="rId9" Type="http://schemas.openxmlformats.org/officeDocument/2006/relationships/slideLayout" Target="../slideLayouts/slideLayout38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49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oleObject" Target="../embeddings/oleObject2.bin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48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1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47.xml"/><Relationship Id="rId30" Type="http://schemas.openxmlformats.org/officeDocument/2006/relationships/tags" Target="../tags/tag5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8.xml"/><Relationship Id="rId13" Type="http://schemas.openxmlformats.org/officeDocument/2006/relationships/slideLayout" Target="../slideLayouts/slideLayout403.xml"/><Relationship Id="rId18" Type="http://schemas.openxmlformats.org/officeDocument/2006/relationships/slideLayout" Target="../slideLayouts/slideLayout408.xml"/><Relationship Id="rId26" Type="http://schemas.openxmlformats.org/officeDocument/2006/relationships/theme" Target="../theme/theme20.xml"/><Relationship Id="rId3" Type="http://schemas.openxmlformats.org/officeDocument/2006/relationships/slideLayout" Target="../slideLayouts/slideLayout393.xml"/><Relationship Id="rId21" Type="http://schemas.openxmlformats.org/officeDocument/2006/relationships/slideLayout" Target="../slideLayouts/slideLayout411.xml"/><Relationship Id="rId34" Type="http://schemas.openxmlformats.org/officeDocument/2006/relationships/image" Target="../media/image7.png"/><Relationship Id="rId7" Type="http://schemas.openxmlformats.org/officeDocument/2006/relationships/slideLayout" Target="../slideLayouts/slideLayout397.xml"/><Relationship Id="rId12" Type="http://schemas.openxmlformats.org/officeDocument/2006/relationships/slideLayout" Target="../slideLayouts/slideLayout402.xml"/><Relationship Id="rId17" Type="http://schemas.openxmlformats.org/officeDocument/2006/relationships/slideLayout" Target="../slideLayouts/slideLayout407.xml"/><Relationship Id="rId25" Type="http://schemas.openxmlformats.org/officeDocument/2006/relationships/slideLayout" Target="../slideLayouts/slideLayout415.xml"/><Relationship Id="rId33" Type="http://schemas.openxmlformats.org/officeDocument/2006/relationships/oleObject" Target="../embeddings/oleObject16.bin"/><Relationship Id="rId2" Type="http://schemas.openxmlformats.org/officeDocument/2006/relationships/slideLayout" Target="../slideLayouts/slideLayout392.xml"/><Relationship Id="rId16" Type="http://schemas.openxmlformats.org/officeDocument/2006/relationships/slideLayout" Target="../slideLayouts/slideLayout406.xml"/><Relationship Id="rId20" Type="http://schemas.openxmlformats.org/officeDocument/2006/relationships/slideLayout" Target="../slideLayouts/slideLayout410.xml"/><Relationship Id="rId29" Type="http://schemas.openxmlformats.org/officeDocument/2006/relationships/tags" Target="../tags/tag570.xml"/><Relationship Id="rId1" Type="http://schemas.openxmlformats.org/officeDocument/2006/relationships/slideLayout" Target="../slideLayouts/slideLayout391.xml"/><Relationship Id="rId6" Type="http://schemas.openxmlformats.org/officeDocument/2006/relationships/slideLayout" Target="../slideLayouts/slideLayout396.xml"/><Relationship Id="rId11" Type="http://schemas.openxmlformats.org/officeDocument/2006/relationships/slideLayout" Target="../slideLayouts/slideLayout401.xml"/><Relationship Id="rId24" Type="http://schemas.openxmlformats.org/officeDocument/2006/relationships/slideLayout" Target="../slideLayouts/slideLayout414.xml"/><Relationship Id="rId32" Type="http://schemas.openxmlformats.org/officeDocument/2006/relationships/tags" Target="../tags/tag573.xml"/><Relationship Id="rId5" Type="http://schemas.openxmlformats.org/officeDocument/2006/relationships/slideLayout" Target="../slideLayouts/slideLayout395.xml"/><Relationship Id="rId15" Type="http://schemas.openxmlformats.org/officeDocument/2006/relationships/slideLayout" Target="../slideLayouts/slideLayout405.xml"/><Relationship Id="rId23" Type="http://schemas.openxmlformats.org/officeDocument/2006/relationships/slideLayout" Target="../slideLayouts/slideLayout413.xml"/><Relationship Id="rId28" Type="http://schemas.openxmlformats.org/officeDocument/2006/relationships/tags" Target="../tags/tag569.xml"/><Relationship Id="rId10" Type="http://schemas.openxmlformats.org/officeDocument/2006/relationships/slideLayout" Target="../slideLayouts/slideLayout400.xml"/><Relationship Id="rId19" Type="http://schemas.openxmlformats.org/officeDocument/2006/relationships/slideLayout" Target="../slideLayouts/slideLayout409.xml"/><Relationship Id="rId31" Type="http://schemas.openxmlformats.org/officeDocument/2006/relationships/tags" Target="../tags/tag572.xml"/><Relationship Id="rId4" Type="http://schemas.openxmlformats.org/officeDocument/2006/relationships/slideLayout" Target="../slideLayouts/slideLayout394.xml"/><Relationship Id="rId9" Type="http://schemas.openxmlformats.org/officeDocument/2006/relationships/slideLayout" Target="../slideLayouts/slideLayout399.xml"/><Relationship Id="rId14" Type="http://schemas.openxmlformats.org/officeDocument/2006/relationships/slideLayout" Target="../slideLayouts/slideLayout404.xml"/><Relationship Id="rId22" Type="http://schemas.openxmlformats.org/officeDocument/2006/relationships/slideLayout" Target="../slideLayouts/slideLayout412.xml"/><Relationship Id="rId27" Type="http://schemas.openxmlformats.org/officeDocument/2006/relationships/vmlDrawing" Target="../drawings/vmlDrawing16.vml"/><Relationship Id="rId30" Type="http://schemas.openxmlformats.org/officeDocument/2006/relationships/tags" Target="../tags/tag571.xml"/><Relationship Id="rId35" Type="http://schemas.openxmlformats.org/officeDocument/2006/relationships/image" Target="../media/image3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3.xml"/><Relationship Id="rId13" Type="http://schemas.openxmlformats.org/officeDocument/2006/relationships/slideLayout" Target="../slideLayouts/slideLayout428.xml"/><Relationship Id="rId18" Type="http://schemas.openxmlformats.org/officeDocument/2006/relationships/slideLayout" Target="../slideLayouts/slideLayout433.xml"/><Relationship Id="rId26" Type="http://schemas.openxmlformats.org/officeDocument/2006/relationships/vmlDrawing" Target="../drawings/vmlDrawing17.vml"/><Relationship Id="rId3" Type="http://schemas.openxmlformats.org/officeDocument/2006/relationships/slideLayout" Target="../slideLayouts/slideLayout418.xml"/><Relationship Id="rId21" Type="http://schemas.openxmlformats.org/officeDocument/2006/relationships/slideLayout" Target="../slideLayouts/slideLayout436.xml"/><Relationship Id="rId34" Type="http://schemas.openxmlformats.org/officeDocument/2006/relationships/image" Target="../media/image25.jpeg"/><Relationship Id="rId7" Type="http://schemas.openxmlformats.org/officeDocument/2006/relationships/slideLayout" Target="../slideLayouts/slideLayout422.xml"/><Relationship Id="rId12" Type="http://schemas.openxmlformats.org/officeDocument/2006/relationships/slideLayout" Target="../slideLayouts/slideLayout427.xml"/><Relationship Id="rId17" Type="http://schemas.openxmlformats.org/officeDocument/2006/relationships/slideLayout" Target="../slideLayouts/slideLayout432.xml"/><Relationship Id="rId25" Type="http://schemas.openxmlformats.org/officeDocument/2006/relationships/theme" Target="../theme/theme21.xml"/><Relationship Id="rId33" Type="http://schemas.openxmlformats.org/officeDocument/2006/relationships/oleObject" Target="../embeddings/oleObject17.bin"/><Relationship Id="rId2" Type="http://schemas.openxmlformats.org/officeDocument/2006/relationships/slideLayout" Target="../slideLayouts/slideLayout417.xml"/><Relationship Id="rId16" Type="http://schemas.openxmlformats.org/officeDocument/2006/relationships/slideLayout" Target="../slideLayouts/slideLayout431.xml"/><Relationship Id="rId20" Type="http://schemas.openxmlformats.org/officeDocument/2006/relationships/slideLayout" Target="../slideLayouts/slideLayout435.xml"/><Relationship Id="rId29" Type="http://schemas.openxmlformats.org/officeDocument/2006/relationships/tags" Target="../tags/tag616.xml"/><Relationship Id="rId1" Type="http://schemas.openxmlformats.org/officeDocument/2006/relationships/slideLayout" Target="../slideLayouts/slideLayout416.xml"/><Relationship Id="rId6" Type="http://schemas.openxmlformats.org/officeDocument/2006/relationships/slideLayout" Target="../slideLayouts/slideLayout421.xml"/><Relationship Id="rId11" Type="http://schemas.openxmlformats.org/officeDocument/2006/relationships/slideLayout" Target="../slideLayouts/slideLayout426.xml"/><Relationship Id="rId24" Type="http://schemas.openxmlformats.org/officeDocument/2006/relationships/slideLayout" Target="../slideLayouts/slideLayout439.xml"/><Relationship Id="rId32" Type="http://schemas.openxmlformats.org/officeDocument/2006/relationships/tags" Target="../tags/tag619.xml"/><Relationship Id="rId5" Type="http://schemas.openxmlformats.org/officeDocument/2006/relationships/slideLayout" Target="../slideLayouts/slideLayout420.xml"/><Relationship Id="rId15" Type="http://schemas.openxmlformats.org/officeDocument/2006/relationships/slideLayout" Target="../slideLayouts/slideLayout430.xml"/><Relationship Id="rId23" Type="http://schemas.openxmlformats.org/officeDocument/2006/relationships/slideLayout" Target="../slideLayouts/slideLayout438.xml"/><Relationship Id="rId28" Type="http://schemas.openxmlformats.org/officeDocument/2006/relationships/tags" Target="../tags/tag615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425.xml"/><Relationship Id="rId19" Type="http://schemas.openxmlformats.org/officeDocument/2006/relationships/slideLayout" Target="../slideLayouts/slideLayout434.xml"/><Relationship Id="rId31" Type="http://schemas.openxmlformats.org/officeDocument/2006/relationships/tags" Target="../tags/tag618.xml"/><Relationship Id="rId4" Type="http://schemas.openxmlformats.org/officeDocument/2006/relationships/slideLayout" Target="../slideLayouts/slideLayout419.xml"/><Relationship Id="rId9" Type="http://schemas.openxmlformats.org/officeDocument/2006/relationships/slideLayout" Target="../slideLayouts/slideLayout424.xml"/><Relationship Id="rId14" Type="http://schemas.openxmlformats.org/officeDocument/2006/relationships/slideLayout" Target="../slideLayouts/slideLayout429.xml"/><Relationship Id="rId22" Type="http://schemas.openxmlformats.org/officeDocument/2006/relationships/slideLayout" Target="../slideLayouts/slideLayout437.xml"/><Relationship Id="rId27" Type="http://schemas.openxmlformats.org/officeDocument/2006/relationships/tags" Target="../tags/tag614.xml"/><Relationship Id="rId30" Type="http://schemas.openxmlformats.org/officeDocument/2006/relationships/tags" Target="../tags/tag617.xml"/><Relationship Id="rId35" Type="http://schemas.openxmlformats.org/officeDocument/2006/relationships/image" Target="../media/image26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442.xml"/><Relationship Id="rId7" Type="http://schemas.openxmlformats.org/officeDocument/2006/relationships/slideLayout" Target="../slideLayouts/slideLayout446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441.xml"/><Relationship Id="rId1" Type="http://schemas.openxmlformats.org/officeDocument/2006/relationships/slideLayout" Target="../slideLayouts/slideLayout440.xml"/><Relationship Id="rId6" Type="http://schemas.openxmlformats.org/officeDocument/2006/relationships/slideLayout" Target="../slideLayouts/slideLayout445.xml"/><Relationship Id="rId11" Type="http://schemas.openxmlformats.org/officeDocument/2006/relationships/slideLayout" Target="../slideLayouts/slideLayout450.xml"/><Relationship Id="rId5" Type="http://schemas.openxmlformats.org/officeDocument/2006/relationships/slideLayout" Target="../slideLayouts/slideLayout444.xml"/><Relationship Id="rId10" Type="http://schemas.openxmlformats.org/officeDocument/2006/relationships/slideLayout" Target="../slideLayouts/slideLayout449.xml"/><Relationship Id="rId4" Type="http://schemas.openxmlformats.org/officeDocument/2006/relationships/slideLayout" Target="../slideLayouts/slideLayout443.xml"/><Relationship Id="rId9" Type="http://schemas.openxmlformats.org/officeDocument/2006/relationships/slideLayout" Target="../slideLayouts/slideLayout448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8.xml"/><Relationship Id="rId13" Type="http://schemas.openxmlformats.org/officeDocument/2006/relationships/slideLayout" Target="../slideLayouts/slideLayout463.xml"/><Relationship Id="rId18" Type="http://schemas.openxmlformats.org/officeDocument/2006/relationships/slideLayout" Target="../slideLayouts/slideLayout468.xml"/><Relationship Id="rId26" Type="http://schemas.openxmlformats.org/officeDocument/2006/relationships/theme" Target="../theme/theme23.xml"/><Relationship Id="rId3" Type="http://schemas.openxmlformats.org/officeDocument/2006/relationships/slideLayout" Target="../slideLayouts/slideLayout453.xml"/><Relationship Id="rId21" Type="http://schemas.openxmlformats.org/officeDocument/2006/relationships/slideLayout" Target="../slideLayouts/slideLayout471.xml"/><Relationship Id="rId34" Type="http://schemas.openxmlformats.org/officeDocument/2006/relationships/oleObject" Target="../embeddings/oleObject18.bin"/><Relationship Id="rId7" Type="http://schemas.openxmlformats.org/officeDocument/2006/relationships/slideLayout" Target="../slideLayouts/slideLayout457.xml"/><Relationship Id="rId12" Type="http://schemas.openxmlformats.org/officeDocument/2006/relationships/slideLayout" Target="../slideLayouts/slideLayout462.xml"/><Relationship Id="rId17" Type="http://schemas.openxmlformats.org/officeDocument/2006/relationships/slideLayout" Target="../slideLayouts/slideLayout467.xml"/><Relationship Id="rId25" Type="http://schemas.openxmlformats.org/officeDocument/2006/relationships/slideLayout" Target="../slideLayouts/slideLayout475.xml"/><Relationship Id="rId33" Type="http://schemas.openxmlformats.org/officeDocument/2006/relationships/tags" Target="../tags/tag666.xml"/><Relationship Id="rId2" Type="http://schemas.openxmlformats.org/officeDocument/2006/relationships/slideLayout" Target="../slideLayouts/slideLayout452.xml"/><Relationship Id="rId16" Type="http://schemas.openxmlformats.org/officeDocument/2006/relationships/slideLayout" Target="../slideLayouts/slideLayout466.xml"/><Relationship Id="rId20" Type="http://schemas.openxmlformats.org/officeDocument/2006/relationships/slideLayout" Target="../slideLayouts/slideLayout470.xml"/><Relationship Id="rId29" Type="http://schemas.openxmlformats.org/officeDocument/2006/relationships/tags" Target="../tags/tag662.xml"/><Relationship Id="rId1" Type="http://schemas.openxmlformats.org/officeDocument/2006/relationships/slideLayout" Target="../slideLayouts/slideLayout451.xml"/><Relationship Id="rId6" Type="http://schemas.openxmlformats.org/officeDocument/2006/relationships/slideLayout" Target="../slideLayouts/slideLayout456.xml"/><Relationship Id="rId11" Type="http://schemas.openxmlformats.org/officeDocument/2006/relationships/slideLayout" Target="../slideLayouts/slideLayout461.xml"/><Relationship Id="rId24" Type="http://schemas.openxmlformats.org/officeDocument/2006/relationships/slideLayout" Target="../slideLayouts/slideLayout474.xml"/><Relationship Id="rId32" Type="http://schemas.openxmlformats.org/officeDocument/2006/relationships/tags" Target="../tags/tag665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455.xml"/><Relationship Id="rId15" Type="http://schemas.openxmlformats.org/officeDocument/2006/relationships/slideLayout" Target="../slideLayouts/slideLayout465.xml"/><Relationship Id="rId23" Type="http://schemas.openxmlformats.org/officeDocument/2006/relationships/slideLayout" Target="../slideLayouts/slideLayout473.xml"/><Relationship Id="rId28" Type="http://schemas.openxmlformats.org/officeDocument/2006/relationships/tags" Target="../tags/tag661.xml"/><Relationship Id="rId36" Type="http://schemas.openxmlformats.org/officeDocument/2006/relationships/image" Target="../media/image32.png"/><Relationship Id="rId10" Type="http://schemas.openxmlformats.org/officeDocument/2006/relationships/slideLayout" Target="../slideLayouts/slideLayout460.xml"/><Relationship Id="rId19" Type="http://schemas.openxmlformats.org/officeDocument/2006/relationships/slideLayout" Target="../slideLayouts/slideLayout469.xml"/><Relationship Id="rId31" Type="http://schemas.openxmlformats.org/officeDocument/2006/relationships/tags" Target="../tags/tag664.xml"/><Relationship Id="rId4" Type="http://schemas.openxmlformats.org/officeDocument/2006/relationships/slideLayout" Target="../slideLayouts/slideLayout454.xml"/><Relationship Id="rId9" Type="http://schemas.openxmlformats.org/officeDocument/2006/relationships/slideLayout" Target="../slideLayouts/slideLayout459.xml"/><Relationship Id="rId14" Type="http://schemas.openxmlformats.org/officeDocument/2006/relationships/slideLayout" Target="../slideLayouts/slideLayout464.xml"/><Relationship Id="rId22" Type="http://schemas.openxmlformats.org/officeDocument/2006/relationships/slideLayout" Target="../slideLayouts/slideLayout472.xml"/><Relationship Id="rId27" Type="http://schemas.openxmlformats.org/officeDocument/2006/relationships/vmlDrawing" Target="../drawings/vmlDrawing18.vml"/><Relationship Id="rId30" Type="http://schemas.openxmlformats.org/officeDocument/2006/relationships/tags" Target="../tags/tag663.xml"/><Relationship Id="rId35" Type="http://schemas.openxmlformats.org/officeDocument/2006/relationships/image" Target="../media/image25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heme" Target="../theme/theme3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tags" Target="../tags/tag9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oleObject" Target="../embeddings/oleObject3.bin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tags" Target="../tags/tag93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tags" Target="../tags/tag96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ags" Target="../tags/tag92.xml"/><Relationship Id="rId30" Type="http://schemas.openxmlformats.org/officeDocument/2006/relationships/tags" Target="../tags/tag9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theme" Target="../theme/theme4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oleObject" Target="../embeddings/oleObject4.bin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tags" Target="../tags/tag138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tags" Target="../tags/tag14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tags" Target="../tags/tag137.xml"/><Relationship Id="rId30" Type="http://schemas.openxmlformats.org/officeDocument/2006/relationships/tags" Target="../tags/tag1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34" Type="http://schemas.openxmlformats.org/officeDocument/2006/relationships/image" Target="../media/image7.pn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oleObject" Target="../embeddings/oleObject5.bin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tags" Target="../tags/tag183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tags" Target="../tags/tag186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tags" Target="../tags/tag182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tags" Target="../tags/tag18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vmlDrawing" Target="../drawings/vmlDrawing5.vml"/><Relationship Id="rId30" Type="http://schemas.openxmlformats.org/officeDocument/2006/relationships/tags" Target="../tags/tag184.xml"/><Relationship Id="rId35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29" Type="http://schemas.openxmlformats.org/officeDocument/2006/relationships/tags" Target="../tags/tag228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tags" Target="../tags/tag227.xml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oleObject" Target="../embeddings/oleObject6.bin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vmlDrawing" Target="../drawings/vmlDrawing6.vml"/><Relationship Id="rId30" Type="http://schemas.openxmlformats.org/officeDocument/2006/relationships/tags" Target="../tags/tag22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tags" Target="../tags/tag270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vmlDrawing" Target="../drawings/vmlDrawing7.vml"/><Relationship Id="rId17" Type="http://schemas.openxmlformats.org/officeDocument/2006/relationships/image" Target="../media/image11.jpeg"/><Relationship Id="rId2" Type="http://schemas.openxmlformats.org/officeDocument/2006/relationships/slideLayout" Target="../slideLayouts/slideLayout148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151.xml"/><Relationship Id="rId15" Type="http://schemas.openxmlformats.org/officeDocument/2006/relationships/tags" Target="../tags/tag272.xml"/><Relationship Id="rId10" Type="http://schemas.openxmlformats.org/officeDocument/2006/relationships/slideLayout" Target="../slideLayouts/slideLayout156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tags" Target="../tags/tag27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vmlDrawing" Target="../drawings/vmlDrawing8.vml"/><Relationship Id="rId3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theme" Target="../theme/theme8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tags" Target="../tags/tag275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tags" Target="../tags/tag274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tags" Target="../tags/tag273.xml"/><Relationship Id="rId30" Type="http://schemas.openxmlformats.org/officeDocument/2006/relationships/oleObject" Target="../embeddings/oleObject8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13" Type="http://schemas.openxmlformats.org/officeDocument/2006/relationships/slideLayout" Target="../slideLayouts/slideLayout193.xml"/><Relationship Id="rId18" Type="http://schemas.openxmlformats.org/officeDocument/2006/relationships/slideLayout" Target="../slideLayouts/slideLayout198.xml"/><Relationship Id="rId26" Type="http://schemas.openxmlformats.org/officeDocument/2006/relationships/slideLayout" Target="../slideLayouts/slideLayout206.xml"/><Relationship Id="rId3" Type="http://schemas.openxmlformats.org/officeDocument/2006/relationships/slideLayout" Target="../slideLayouts/slideLayout183.xml"/><Relationship Id="rId21" Type="http://schemas.openxmlformats.org/officeDocument/2006/relationships/slideLayout" Target="../slideLayouts/slideLayout201.xml"/><Relationship Id="rId34" Type="http://schemas.openxmlformats.org/officeDocument/2006/relationships/oleObject" Target="../embeddings/oleObject9.bin"/><Relationship Id="rId7" Type="http://schemas.openxmlformats.org/officeDocument/2006/relationships/slideLayout" Target="../slideLayouts/slideLayout187.xml"/><Relationship Id="rId12" Type="http://schemas.openxmlformats.org/officeDocument/2006/relationships/slideLayout" Target="../slideLayouts/slideLayout192.xml"/><Relationship Id="rId17" Type="http://schemas.openxmlformats.org/officeDocument/2006/relationships/slideLayout" Target="../slideLayouts/slideLayout197.xml"/><Relationship Id="rId25" Type="http://schemas.openxmlformats.org/officeDocument/2006/relationships/slideLayout" Target="../slideLayouts/slideLayout205.xml"/><Relationship Id="rId33" Type="http://schemas.openxmlformats.org/officeDocument/2006/relationships/tags" Target="../tags/tag301.xml"/><Relationship Id="rId2" Type="http://schemas.openxmlformats.org/officeDocument/2006/relationships/slideLayout" Target="../slideLayouts/slideLayout182.xml"/><Relationship Id="rId16" Type="http://schemas.openxmlformats.org/officeDocument/2006/relationships/slideLayout" Target="../slideLayouts/slideLayout196.xml"/><Relationship Id="rId20" Type="http://schemas.openxmlformats.org/officeDocument/2006/relationships/slideLayout" Target="../slideLayouts/slideLayout200.xml"/><Relationship Id="rId29" Type="http://schemas.openxmlformats.org/officeDocument/2006/relationships/tags" Target="../tags/tag297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24" Type="http://schemas.openxmlformats.org/officeDocument/2006/relationships/slideLayout" Target="../slideLayouts/slideLayout204.xml"/><Relationship Id="rId32" Type="http://schemas.openxmlformats.org/officeDocument/2006/relationships/tags" Target="../tags/tag300.xml"/><Relationship Id="rId5" Type="http://schemas.openxmlformats.org/officeDocument/2006/relationships/slideLayout" Target="../slideLayouts/slideLayout185.xml"/><Relationship Id="rId15" Type="http://schemas.openxmlformats.org/officeDocument/2006/relationships/slideLayout" Target="../slideLayouts/slideLayout195.xml"/><Relationship Id="rId23" Type="http://schemas.openxmlformats.org/officeDocument/2006/relationships/slideLayout" Target="../slideLayouts/slideLayout203.xml"/><Relationship Id="rId28" Type="http://schemas.openxmlformats.org/officeDocument/2006/relationships/vmlDrawing" Target="../drawings/vmlDrawing9.v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199.xml"/><Relationship Id="rId31" Type="http://schemas.openxmlformats.org/officeDocument/2006/relationships/tags" Target="../tags/tag299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Relationship Id="rId14" Type="http://schemas.openxmlformats.org/officeDocument/2006/relationships/slideLayout" Target="../slideLayouts/slideLayout194.xml"/><Relationship Id="rId22" Type="http://schemas.openxmlformats.org/officeDocument/2006/relationships/slideLayout" Target="../slideLayouts/slideLayout202.xml"/><Relationship Id="rId27" Type="http://schemas.openxmlformats.org/officeDocument/2006/relationships/theme" Target="../theme/theme9.xml"/><Relationship Id="rId30" Type="http://schemas.openxmlformats.org/officeDocument/2006/relationships/tags" Target="../tags/tag298.xml"/><Relationship Id="rId35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0" name="think-cell Slide" r:id="rId3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0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0" y="6381329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ED9C8-F09A-4D9E-BEC0-4725162E21FF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95827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1" r:id="rId1"/>
    <p:sldLayoutId id="2147485962" r:id="rId2"/>
    <p:sldLayoutId id="2147485963" r:id="rId3"/>
    <p:sldLayoutId id="2147485964" r:id="rId4"/>
    <p:sldLayoutId id="2147485965" r:id="rId5"/>
    <p:sldLayoutId id="2147485966" r:id="rId6"/>
    <p:sldLayoutId id="2147485967" r:id="rId7"/>
    <p:sldLayoutId id="2147485968" r:id="rId8"/>
    <p:sldLayoutId id="2147485969" r:id="rId9"/>
    <p:sldLayoutId id="2147485970" r:id="rId10"/>
    <p:sldLayoutId id="21474859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2016354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70" name="think-cell Slide" r:id="rId31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01328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19" r:id="rId1"/>
    <p:sldLayoutId id="2147486620" r:id="rId2"/>
    <p:sldLayoutId id="2147486621" r:id="rId3"/>
    <p:sldLayoutId id="2147486622" r:id="rId4"/>
    <p:sldLayoutId id="2147486623" r:id="rId5"/>
    <p:sldLayoutId id="2147486624" r:id="rId6"/>
    <p:sldLayoutId id="2147486625" r:id="rId7"/>
    <p:sldLayoutId id="2147486626" r:id="rId8"/>
    <p:sldLayoutId id="2147486627" r:id="rId9"/>
    <p:sldLayoutId id="2147486628" r:id="rId10"/>
    <p:sldLayoutId id="2147486629" r:id="rId11"/>
    <p:sldLayoutId id="2147486630" r:id="rId12"/>
    <p:sldLayoutId id="2147486631" r:id="rId13"/>
    <p:sldLayoutId id="2147486632" r:id="rId14"/>
    <p:sldLayoutId id="2147486633" r:id="rId15"/>
    <p:sldLayoutId id="2147486634" r:id="rId16"/>
    <p:sldLayoutId id="2147486635" r:id="rId17"/>
    <p:sldLayoutId id="2147486636" r:id="rId18"/>
    <p:sldLayoutId id="2147486637" r:id="rId19"/>
    <p:sldLayoutId id="2147486638" r:id="rId20"/>
    <p:sldLayoutId id="2147486639" r:id="rId21"/>
    <p:sldLayoutId id="2147486640" r:id="rId22"/>
    <p:sldLayoutId id="2147486641" r:id="rId23"/>
    <p:sldLayoutId id="2147486642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9681696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4" name="think-cell Slide" r:id="rId35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33121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45" r:id="rId1"/>
    <p:sldLayoutId id="2147486646" r:id="rId2"/>
    <p:sldLayoutId id="2147486647" r:id="rId3"/>
    <p:sldLayoutId id="2147486648" r:id="rId4"/>
    <p:sldLayoutId id="2147486649" r:id="rId5"/>
    <p:sldLayoutId id="2147486650" r:id="rId6"/>
    <p:sldLayoutId id="2147486651" r:id="rId7"/>
    <p:sldLayoutId id="2147486652" r:id="rId8"/>
    <p:sldLayoutId id="2147486653" r:id="rId9"/>
    <p:sldLayoutId id="2147486654" r:id="rId10"/>
    <p:sldLayoutId id="2147486655" r:id="rId11"/>
    <p:sldLayoutId id="2147486656" r:id="rId12"/>
    <p:sldLayoutId id="2147486657" r:id="rId13"/>
    <p:sldLayoutId id="2147486658" r:id="rId14"/>
    <p:sldLayoutId id="2147486659" r:id="rId15"/>
    <p:sldLayoutId id="2147486660" r:id="rId16"/>
    <p:sldLayoutId id="2147486661" r:id="rId17"/>
    <p:sldLayoutId id="2147486662" r:id="rId18"/>
    <p:sldLayoutId id="2147486663" r:id="rId19"/>
    <p:sldLayoutId id="2147486664" r:id="rId20"/>
    <p:sldLayoutId id="2147486665" r:id="rId21"/>
    <p:sldLayoutId id="2147486666" r:id="rId22"/>
    <p:sldLayoutId id="2147486667" r:id="rId23"/>
    <p:sldLayoutId id="2147486668" r:id="rId24"/>
    <p:sldLayoutId id="2147486669" r:id="rId25"/>
    <p:sldLayoutId id="2147487349" r:id="rId26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3318" name="think-cell Slide" r:id="rId33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7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7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40500" tIns="40500" rIns="0" bIns="0" rtlCol="0" anchor="b"/>
          <a:lstStyle/>
          <a:p>
            <a:pPr lvl="0"/>
            <a:r>
              <a:rPr lang="en-US" sz="450" dirty="0">
                <a:solidFill>
                  <a:schemeClr val="accent3"/>
                </a:solidFill>
              </a:rPr>
              <a:t>© Western Cape Government 2012  |</a:t>
            </a:r>
            <a:endParaRPr lang="en-GB" sz="450" dirty="0">
              <a:solidFill>
                <a:schemeClr val="accent3"/>
              </a:solidFill>
            </a:endParaRPr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3" y="898357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675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1" y="6381330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80139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72" r:id="rId1"/>
    <p:sldLayoutId id="2147486673" r:id="rId2"/>
    <p:sldLayoutId id="2147486674" r:id="rId3"/>
    <p:sldLayoutId id="2147486675" r:id="rId4"/>
    <p:sldLayoutId id="2147486676" r:id="rId5"/>
    <p:sldLayoutId id="2147486677" r:id="rId6"/>
    <p:sldLayoutId id="2147486678" r:id="rId7"/>
    <p:sldLayoutId id="2147486679" r:id="rId8"/>
    <p:sldLayoutId id="2147486680" r:id="rId9"/>
    <p:sldLayoutId id="2147486681" r:id="rId10"/>
    <p:sldLayoutId id="2147486682" r:id="rId11"/>
    <p:sldLayoutId id="2147486683" r:id="rId12"/>
    <p:sldLayoutId id="2147486684" r:id="rId13"/>
    <p:sldLayoutId id="2147486685" r:id="rId14"/>
    <p:sldLayoutId id="2147486686" r:id="rId15"/>
    <p:sldLayoutId id="2147486687" r:id="rId16"/>
    <p:sldLayoutId id="2147486688" r:id="rId17"/>
    <p:sldLayoutId id="2147486689" r:id="rId18"/>
    <p:sldLayoutId id="2147486690" r:id="rId19"/>
    <p:sldLayoutId id="2147486691" r:id="rId20"/>
    <p:sldLayoutId id="2147486692" r:id="rId21"/>
    <p:sldLayoutId id="2147486693" r:id="rId22"/>
    <p:sldLayoutId id="2147486694" r:id="rId23"/>
    <p:sldLayoutId id="2147486695" r:id="rId24"/>
    <p:sldLayoutId id="2147486696" r:id="rId25"/>
  </p:sldLayoutIdLst>
  <p:hf hdr="0"/>
  <p:txStyles>
    <p:titleStyle>
      <a:lvl1pPr algn="l" defTabSz="514361" rtl="0" eaLnBrk="1" latinLnBrk="0" hangingPunct="1">
        <a:spcBef>
          <a:spcPct val="0"/>
        </a:spcBef>
        <a:buNone/>
        <a:defRPr sz="135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514361" rtl="0" eaLnBrk="1" latinLnBrk="0" hangingPunct="1">
        <a:spcBef>
          <a:spcPts val="169"/>
        </a:spcBef>
        <a:buFont typeface="Arial" pitchFamily="34" charset="0"/>
        <a:buNone/>
        <a:defRPr sz="9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01252" indent="-101252" algn="l" defTabSz="514361" rtl="0" eaLnBrk="1" latinLnBrk="0" hangingPunct="1">
        <a:spcBef>
          <a:spcPts val="169"/>
        </a:spcBef>
        <a:buClr>
          <a:srgbClr val="002060"/>
        </a:buClr>
        <a:buFontTx/>
        <a:buBlip>
          <a:blip r:embed="rId35"/>
        </a:buBlip>
        <a:defRPr sz="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02504" indent="-101252" algn="l" defTabSz="514361" rtl="0" eaLnBrk="1" latinLnBrk="0" hangingPunct="1">
        <a:spcBef>
          <a:spcPts val="169"/>
        </a:spcBef>
        <a:buClr>
          <a:schemeClr val="accent3"/>
        </a:buClr>
        <a:buFont typeface="Arial" pitchFamily="34" charset="0"/>
        <a:buChar char="•"/>
        <a:defRPr lang="en-US" sz="9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303756" indent="-101252" algn="l" defTabSz="514361" rtl="0" eaLnBrk="1" latinLnBrk="0" hangingPunct="1">
        <a:spcBef>
          <a:spcPts val="169"/>
        </a:spcBef>
        <a:buClr>
          <a:schemeClr val="accent3"/>
        </a:buClr>
        <a:buFont typeface="Arial" pitchFamily="34" charset="0"/>
        <a:buChar char="–"/>
        <a:defRPr sz="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012520" indent="-1012520" algn="l" defTabSz="514361" rtl="0" eaLnBrk="1" latinLnBrk="0" hangingPunct="1">
        <a:spcBef>
          <a:spcPts val="169"/>
        </a:spcBef>
        <a:buFont typeface="Arial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5pPr>
      <a:lvl6pPr marL="1414491" indent="-128591" algn="l" defTabSz="514361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71" indent="-128591" algn="l" defTabSz="514361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52" indent="-128591" algn="l" defTabSz="514361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6032" indent="-128591" algn="l" defTabSz="514361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6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80" algn="l" defTabSz="51436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61" algn="l" defTabSz="51436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40" algn="l" defTabSz="51436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21" algn="l" defTabSz="51436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901" algn="l" defTabSz="51436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81" algn="l" defTabSz="51436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61" algn="l" defTabSz="51436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41" algn="l" defTabSz="514361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68E8ED-AD7A-4DB7-8F2B-9BB7F137F011}" type="datetimeFigureOut">
              <a:rPr lang="en-US" smtClean="0"/>
              <a:pPr/>
              <a:t>7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DCACA5-7811-4549-9A8B-A502C9AD3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53954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85" r:id="rId1"/>
    <p:sldLayoutId id="2147486786" r:id="rId2"/>
    <p:sldLayoutId id="2147486787" r:id="rId3"/>
    <p:sldLayoutId id="2147486788" r:id="rId4"/>
    <p:sldLayoutId id="2147486789" r:id="rId5"/>
    <p:sldLayoutId id="2147486790" r:id="rId6"/>
    <p:sldLayoutId id="2147486791" r:id="rId7"/>
    <p:sldLayoutId id="2147486792" r:id="rId8"/>
    <p:sldLayoutId id="2147486793" r:id="rId9"/>
    <p:sldLayoutId id="2147486794" r:id="rId10"/>
    <p:sldLayoutId id="21474867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342" name="think-cell Slide" r:id="rId33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54000" tIns="54000" rIns="0" bIns="0" rtlCol="0" anchor="b"/>
          <a:lstStyle/>
          <a:p>
            <a:r>
              <a:rPr lang="en-US" sz="600" dirty="0">
                <a:solidFill>
                  <a:srgbClr val="998F86"/>
                </a:solidFill>
              </a:rPr>
              <a:t>© Western Cape Government 2012  |</a:t>
            </a:r>
            <a:endParaRPr lang="en-GB" sz="600" dirty="0">
              <a:solidFill>
                <a:srgbClr val="998F86"/>
              </a:solidFill>
            </a:endParaRPr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3" y="898355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1" y="6381329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10718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958" r:id="rId1"/>
    <p:sldLayoutId id="2147486959" r:id="rId2"/>
    <p:sldLayoutId id="2147486960" r:id="rId3"/>
    <p:sldLayoutId id="2147486961" r:id="rId4"/>
    <p:sldLayoutId id="2147486962" r:id="rId5"/>
    <p:sldLayoutId id="2147486963" r:id="rId6"/>
    <p:sldLayoutId id="2147486964" r:id="rId7"/>
    <p:sldLayoutId id="2147486965" r:id="rId8"/>
    <p:sldLayoutId id="2147486966" r:id="rId9"/>
    <p:sldLayoutId id="2147486967" r:id="rId10"/>
    <p:sldLayoutId id="2147486968" r:id="rId11"/>
    <p:sldLayoutId id="2147486969" r:id="rId12"/>
    <p:sldLayoutId id="2147486970" r:id="rId13"/>
    <p:sldLayoutId id="2147486971" r:id="rId14"/>
    <p:sldLayoutId id="2147486972" r:id="rId15"/>
    <p:sldLayoutId id="2147486973" r:id="rId16"/>
    <p:sldLayoutId id="2147486974" r:id="rId17"/>
    <p:sldLayoutId id="2147486975" r:id="rId18"/>
    <p:sldLayoutId id="2147486976" r:id="rId19"/>
    <p:sldLayoutId id="2147486977" r:id="rId20"/>
    <p:sldLayoutId id="2147486978" r:id="rId21"/>
    <p:sldLayoutId id="2147486979" r:id="rId22"/>
    <p:sldLayoutId id="2147486980" r:id="rId23"/>
    <p:sldLayoutId id="2147486981" r:id="rId24"/>
    <p:sldLayoutId id="2147486983" r:id="rId25"/>
  </p:sldLayoutIdLst>
  <p:hf hdr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5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17EAB90-2883-4BF5-B9FC-7001720FE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4711034-53B6-47BB-BAFD-125024A4F3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EA1DD9C-D1A7-49A1-87F3-EB1AA20FBB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B7C389D-6F08-467C-B0A2-88BCBD8D3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B3A95D0-E2A5-481B-82D4-75710AECA5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06005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89" r:id="rId1"/>
    <p:sldLayoutId id="2147487090" r:id="rId2"/>
    <p:sldLayoutId id="2147487091" r:id="rId3"/>
    <p:sldLayoutId id="2147487092" r:id="rId4"/>
    <p:sldLayoutId id="2147487093" r:id="rId5"/>
    <p:sldLayoutId id="2147487094" r:id="rId6"/>
    <p:sldLayoutId id="2147487095" r:id="rId7"/>
    <p:sldLayoutId id="2147487096" r:id="rId8"/>
    <p:sldLayoutId id="2147487097" r:id="rId9"/>
    <p:sldLayoutId id="2147487098" r:id="rId10"/>
    <p:sldLayoutId id="2147487099" r:id="rId11"/>
    <p:sldLayoutId id="2147487219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66" name="think-cell Slide" r:id="rId3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0" y="6381329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41831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101" r:id="rId1"/>
    <p:sldLayoutId id="2147487102" r:id="rId2"/>
    <p:sldLayoutId id="2147487103" r:id="rId3"/>
    <p:sldLayoutId id="2147487104" r:id="rId4"/>
    <p:sldLayoutId id="2147487105" r:id="rId5"/>
    <p:sldLayoutId id="2147487106" r:id="rId6"/>
    <p:sldLayoutId id="2147487107" r:id="rId7"/>
    <p:sldLayoutId id="2147487108" r:id="rId8"/>
    <p:sldLayoutId id="2147487109" r:id="rId9"/>
    <p:sldLayoutId id="2147487110" r:id="rId10"/>
    <p:sldLayoutId id="2147487111" r:id="rId11"/>
    <p:sldLayoutId id="2147487112" r:id="rId12"/>
    <p:sldLayoutId id="2147487113" r:id="rId13"/>
    <p:sldLayoutId id="2147487114" r:id="rId14"/>
    <p:sldLayoutId id="2147487115" r:id="rId15"/>
    <p:sldLayoutId id="2147487116" r:id="rId16"/>
    <p:sldLayoutId id="2147487117" r:id="rId17"/>
    <p:sldLayoutId id="2147487118" r:id="rId18"/>
    <p:sldLayoutId id="2147487119" r:id="rId19"/>
    <p:sldLayoutId id="2147487120" r:id="rId20"/>
    <p:sldLayoutId id="2147487121" r:id="rId21"/>
    <p:sldLayoutId id="2147487122" r:id="rId22"/>
    <p:sldLayoutId id="2147487123" r:id="rId23"/>
    <p:sldLayoutId id="2147487124" r:id="rId24"/>
    <p:sldLayoutId id="2147487125" r:id="rId2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3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p24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575"/>
              <a:buFont typeface="Calibri"/>
              <a:buNone/>
              <a:defRPr sz="8575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9" name="Google Shape;239;p24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575119" algn="l" rtl="0">
              <a:lnSpc>
                <a:spcPct val="90000"/>
              </a:lnSpc>
              <a:spcBef>
                <a:spcPts val="1949"/>
              </a:spcBef>
              <a:spcAft>
                <a:spcPts val="0"/>
              </a:spcAft>
              <a:buClr>
                <a:schemeClr val="dk1"/>
              </a:buClr>
              <a:buSzPts val="5457"/>
              <a:buFont typeface="Arial"/>
              <a:buChar char="•"/>
              <a:defRPr sz="545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525589" algn="l" rtl="0">
              <a:lnSpc>
                <a:spcPct val="90000"/>
              </a:lnSpc>
              <a:spcBef>
                <a:spcPts val="974"/>
              </a:spcBef>
              <a:spcAft>
                <a:spcPts val="0"/>
              </a:spcAft>
              <a:buClr>
                <a:schemeClr val="dk1"/>
              </a:buClr>
              <a:buSzPts val="4677"/>
              <a:buFont typeface="Arial"/>
              <a:buChar char="•"/>
              <a:defRPr sz="467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476122" algn="l" rtl="0">
              <a:lnSpc>
                <a:spcPct val="90000"/>
              </a:lnSpc>
              <a:spcBef>
                <a:spcPts val="974"/>
              </a:spcBef>
              <a:spcAft>
                <a:spcPts val="0"/>
              </a:spcAft>
              <a:buClr>
                <a:schemeClr val="dk1"/>
              </a:buClr>
              <a:buSzPts val="3898"/>
              <a:buFont typeface="Arial"/>
              <a:buChar char="•"/>
              <a:defRPr sz="389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451358" algn="l" rtl="0">
              <a:lnSpc>
                <a:spcPct val="90000"/>
              </a:lnSpc>
              <a:spcBef>
                <a:spcPts val="974"/>
              </a:spcBef>
              <a:spcAft>
                <a:spcPts val="0"/>
              </a:spcAft>
              <a:buClr>
                <a:schemeClr val="dk1"/>
              </a:buClr>
              <a:buSzPts val="3508"/>
              <a:buFont typeface="Arial"/>
              <a:buChar char="•"/>
              <a:defRPr sz="35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451358" algn="l" rtl="0">
              <a:lnSpc>
                <a:spcPct val="90000"/>
              </a:lnSpc>
              <a:spcBef>
                <a:spcPts val="974"/>
              </a:spcBef>
              <a:spcAft>
                <a:spcPts val="0"/>
              </a:spcAft>
              <a:buClr>
                <a:schemeClr val="dk1"/>
              </a:buClr>
              <a:buSzPts val="3508"/>
              <a:buFont typeface="Arial"/>
              <a:buChar char="•"/>
              <a:defRPr sz="35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451358" algn="l" rtl="0">
              <a:lnSpc>
                <a:spcPct val="90000"/>
              </a:lnSpc>
              <a:spcBef>
                <a:spcPts val="974"/>
              </a:spcBef>
              <a:spcAft>
                <a:spcPts val="0"/>
              </a:spcAft>
              <a:buClr>
                <a:schemeClr val="dk1"/>
              </a:buClr>
              <a:buSzPts val="3508"/>
              <a:buFont typeface="Arial"/>
              <a:buChar char="•"/>
              <a:defRPr sz="35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451358" algn="l" rtl="0">
              <a:lnSpc>
                <a:spcPct val="90000"/>
              </a:lnSpc>
              <a:spcBef>
                <a:spcPts val="974"/>
              </a:spcBef>
              <a:spcAft>
                <a:spcPts val="0"/>
              </a:spcAft>
              <a:buClr>
                <a:schemeClr val="dk1"/>
              </a:buClr>
              <a:buSzPts val="3508"/>
              <a:buFont typeface="Arial"/>
              <a:buChar char="•"/>
              <a:defRPr sz="35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451358" algn="l" rtl="0">
              <a:lnSpc>
                <a:spcPct val="90000"/>
              </a:lnSpc>
              <a:spcBef>
                <a:spcPts val="974"/>
              </a:spcBef>
              <a:spcAft>
                <a:spcPts val="0"/>
              </a:spcAft>
              <a:buClr>
                <a:schemeClr val="dk1"/>
              </a:buClr>
              <a:buSzPts val="3508"/>
              <a:buFont typeface="Arial"/>
              <a:buChar char="•"/>
              <a:defRPr sz="35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451358" algn="l" rtl="0">
              <a:lnSpc>
                <a:spcPct val="90000"/>
              </a:lnSpc>
              <a:spcBef>
                <a:spcPts val="974"/>
              </a:spcBef>
              <a:spcAft>
                <a:spcPts val="0"/>
              </a:spcAft>
              <a:buClr>
                <a:schemeClr val="dk1"/>
              </a:buClr>
              <a:buSzPts val="3508"/>
              <a:buFont typeface="Arial"/>
              <a:buChar char="•"/>
              <a:defRPr sz="35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0" name="Google Shape;240;p24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41" name="Google Shape;241;p24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9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42" name="Google Shape;242;p24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39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9202914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7132" r:id="rId1"/>
    <p:sldLayoutId id="2147487133" r:id="rId2"/>
    <p:sldLayoutId id="2147487134" r:id="rId3"/>
    <p:sldLayoutId id="2147487135" r:id="rId4"/>
    <p:sldLayoutId id="2147487136" r:id="rId5"/>
    <p:sldLayoutId id="2147487137" r:id="rId6"/>
    <p:sldLayoutId id="2147487138" r:id="rId7"/>
    <p:sldLayoutId id="2147487139" r:id="rId8"/>
    <p:sldLayoutId id="2147487140" r:id="rId9"/>
    <p:sldLayoutId id="2147487141" r:id="rId10"/>
    <p:sldLayoutId id="2147487142" r:id="rId11"/>
    <p:sldLayoutId id="2147487143" r:id="rId12"/>
    <p:sldLayoutId id="2147487144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53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D8D2D2F6-6091-4810-9EA4-E12530E66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849FE42-E5CD-4D76-A461-D20148B317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217F722-8C4E-4A6A-970B-9663FB11E85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976750-8B97-477A-A0FA-8B3E9097D1FF}" type="datetimeFigureOut">
              <a:rPr lang="en-GB" smtClean="0"/>
              <a:pPr/>
              <a:t>23/07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F5D77E5-07FE-4650-87D3-1D79F4D49B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C367D1C-B52F-48C6-8589-D4FA350647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6FB554-ADE8-461A-8086-CD970E16AE2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76345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73" r:id="rId1"/>
    <p:sldLayoutId id="2147487274" r:id="rId2"/>
    <p:sldLayoutId id="2147487275" r:id="rId3"/>
    <p:sldLayoutId id="2147487276" r:id="rId4"/>
    <p:sldLayoutId id="2147487277" r:id="rId5"/>
    <p:sldLayoutId id="2147487278" r:id="rId6"/>
    <p:sldLayoutId id="2147487279" r:id="rId7"/>
    <p:sldLayoutId id="2147487280" r:id="rId8"/>
    <p:sldLayoutId id="2147487281" r:id="rId9"/>
    <p:sldLayoutId id="2147487282" r:id="rId10"/>
    <p:sldLayoutId id="2147487283" r:id="rId11"/>
    <p:sldLayoutId id="2147487284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54" name="think-cell Slide" r:id="rId3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0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54000" tIns="54000" rIns="0" bIns="0" rtlCol="0" anchor="b"/>
          <a:lstStyle/>
          <a:p>
            <a:pPr lvl="0"/>
            <a:r>
              <a:rPr lang="en-US" sz="600" dirty="0">
                <a:solidFill>
                  <a:schemeClr val="accent3"/>
                </a:solidFill>
              </a:rPr>
              <a:t>© Western Cape Government 2012  |</a:t>
            </a:r>
            <a:endParaRPr lang="en-GB" sz="600" dirty="0">
              <a:solidFill>
                <a:schemeClr val="accent3"/>
              </a:solidFill>
            </a:endParaRPr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3" y="898355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1" y="6381329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4129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  <p:sldLayoutId id="2147483817" r:id="rId14"/>
    <p:sldLayoutId id="2147483818" r:id="rId15"/>
    <p:sldLayoutId id="2147483819" r:id="rId16"/>
    <p:sldLayoutId id="2147483820" r:id="rId17"/>
    <p:sldLayoutId id="2147483821" r:id="rId18"/>
    <p:sldLayoutId id="2147483822" r:id="rId19"/>
    <p:sldLayoutId id="2147483823" r:id="rId20"/>
    <p:sldLayoutId id="2147483824" r:id="rId21"/>
    <p:sldLayoutId id="2147483825" r:id="rId22"/>
    <p:sldLayoutId id="2147483826" r:id="rId23"/>
    <p:sldLayoutId id="2147483827" r:id="rId24"/>
  </p:sldLayoutIdLst>
  <p:hf hdr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4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6390" name="think-cell Slide" r:id="rId33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7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7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38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3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338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30375" tIns="30375" rIns="0" bIns="0" rtlCol="0" anchor="b"/>
          <a:lstStyle/>
          <a:p>
            <a:pPr lvl="0"/>
            <a:r>
              <a:rPr lang="en-US" sz="338" dirty="0">
                <a:solidFill>
                  <a:schemeClr val="accent3"/>
                </a:solidFill>
              </a:rPr>
              <a:t>© Western Cape Government 2012  |</a:t>
            </a:r>
            <a:endParaRPr lang="en-GB" sz="338" dirty="0">
              <a:solidFill>
                <a:schemeClr val="accent3"/>
              </a:solidFill>
            </a:endParaRPr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3" y="898358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506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1" y="6381330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35375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299" r:id="rId1"/>
    <p:sldLayoutId id="2147487300" r:id="rId2"/>
    <p:sldLayoutId id="2147487301" r:id="rId3"/>
    <p:sldLayoutId id="2147487302" r:id="rId4"/>
    <p:sldLayoutId id="2147487303" r:id="rId5"/>
    <p:sldLayoutId id="2147487304" r:id="rId6"/>
    <p:sldLayoutId id="2147487305" r:id="rId7"/>
    <p:sldLayoutId id="2147487306" r:id="rId8"/>
    <p:sldLayoutId id="2147487307" r:id="rId9"/>
    <p:sldLayoutId id="2147487308" r:id="rId10"/>
    <p:sldLayoutId id="2147487309" r:id="rId11"/>
    <p:sldLayoutId id="2147487310" r:id="rId12"/>
    <p:sldLayoutId id="2147487311" r:id="rId13"/>
    <p:sldLayoutId id="2147487312" r:id="rId14"/>
    <p:sldLayoutId id="2147487313" r:id="rId15"/>
    <p:sldLayoutId id="2147487314" r:id="rId16"/>
    <p:sldLayoutId id="2147487315" r:id="rId17"/>
    <p:sldLayoutId id="2147487316" r:id="rId18"/>
    <p:sldLayoutId id="2147487317" r:id="rId19"/>
    <p:sldLayoutId id="2147487318" r:id="rId20"/>
    <p:sldLayoutId id="2147487319" r:id="rId21"/>
    <p:sldLayoutId id="2147487320" r:id="rId22"/>
    <p:sldLayoutId id="2147487321" r:id="rId23"/>
    <p:sldLayoutId id="2147487322" r:id="rId24"/>
    <p:sldLayoutId id="2147487323" r:id="rId25"/>
  </p:sldLayoutIdLst>
  <p:hf hdr="0"/>
  <p:txStyles>
    <p:titleStyle>
      <a:lvl1pPr algn="l" defTabSz="385771" rtl="0" eaLnBrk="1" latinLnBrk="0" hangingPunct="1">
        <a:spcBef>
          <a:spcPct val="0"/>
        </a:spcBef>
        <a:buNone/>
        <a:defRPr sz="1013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385771" rtl="0" eaLnBrk="1" latinLnBrk="0" hangingPunct="1">
        <a:spcBef>
          <a:spcPts val="127"/>
        </a:spcBef>
        <a:buFont typeface="Arial" pitchFamily="34" charset="0"/>
        <a:buNone/>
        <a:defRPr sz="675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75939" indent="-75939" algn="l" defTabSz="385771" rtl="0" eaLnBrk="1" latinLnBrk="0" hangingPunct="1">
        <a:spcBef>
          <a:spcPts val="127"/>
        </a:spcBef>
        <a:buClr>
          <a:srgbClr val="002060"/>
        </a:buClr>
        <a:buFontTx/>
        <a:buBlip>
          <a:blip r:embed="rId35"/>
        </a:buBlip>
        <a:defRPr sz="675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151878" indent="-75939" algn="l" defTabSz="385771" rtl="0" eaLnBrk="1" latinLnBrk="0" hangingPunct="1">
        <a:spcBef>
          <a:spcPts val="127"/>
        </a:spcBef>
        <a:buClr>
          <a:schemeClr val="accent3"/>
        </a:buClr>
        <a:buFont typeface="Arial" pitchFamily="34" charset="0"/>
        <a:buChar char="•"/>
        <a:defRPr lang="en-US" sz="675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227817" indent="-75939" algn="l" defTabSz="385771" rtl="0" eaLnBrk="1" latinLnBrk="0" hangingPunct="1">
        <a:spcBef>
          <a:spcPts val="127"/>
        </a:spcBef>
        <a:buClr>
          <a:schemeClr val="accent3"/>
        </a:buClr>
        <a:buFont typeface="Arial" pitchFamily="34" charset="0"/>
        <a:buChar char="–"/>
        <a:defRPr sz="675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759390" indent="-759390" algn="l" defTabSz="385771" rtl="0" eaLnBrk="1" latinLnBrk="0" hangingPunct="1">
        <a:spcBef>
          <a:spcPts val="127"/>
        </a:spcBef>
        <a:buFont typeface="Arial" pitchFamily="34" charset="0"/>
        <a:buNone/>
        <a:defRPr sz="675" kern="1200">
          <a:solidFill>
            <a:schemeClr val="tx2"/>
          </a:solidFill>
          <a:latin typeface="+mn-lt"/>
          <a:ea typeface="+mn-ea"/>
          <a:cs typeface="+mn-cs"/>
        </a:defRPr>
      </a:lvl5pPr>
      <a:lvl6pPr marL="1060868" indent="-96443" algn="l" defTabSz="385771" rtl="0" eaLnBrk="1" latinLnBrk="0" hangingPunct="1">
        <a:spcBef>
          <a:spcPct val="20000"/>
        </a:spcBef>
        <a:buFont typeface="Arial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6pPr>
      <a:lvl7pPr marL="1253753" indent="-96443" algn="l" defTabSz="385771" rtl="0" eaLnBrk="1" latinLnBrk="0" hangingPunct="1">
        <a:spcBef>
          <a:spcPct val="20000"/>
        </a:spcBef>
        <a:buFont typeface="Arial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7pPr>
      <a:lvl8pPr marL="1446639" indent="-96443" algn="l" defTabSz="385771" rtl="0" eaLnBrk="1" latinLnBrk="0" hangingPunct="1">
        <a:spcBef>
          <a:spcPct val="20000"/>
        </a:spcBef>
        <a:buFont typeface="Arial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8pPr>
      <a:lvl9pPr marL="1639524" indent="-96443" algn="l" defTabSz="385771" rtl="0" eaLnBrk="1" latinLnBrk="0" hangingPunct="1">
        <a:spcBef>
          <a:spcPct val="20000"/>
        </a:spcBef>
        <a:buFont typeface="Arial" pitchFamily="34" charset="0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577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5" algn="l" defTabSz="38577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71" algn="l" defTabSz="38577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55" algn="l" defTabSz="38577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41" algn="l" defTabSz="38577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426" algn="l" defTabSz="38577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311" algn="l" defTabSz="38577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96" algn="l" defTabSz="38577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81" algn="l" defTabSz="38577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36174698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7414" name="think-cell Slide" r:id="rId33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3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7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7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2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45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40500" tIns="40500" rIns="0" bIns="0" rtlCol="0" anchor="b"/>
          <a:lstStyle/>
          <a:p>
            <a:pPr lvl="0"/>
            <a:r>
              <a:rPr lang="en-US" sz="450" dirty="0">
                <a:solidFill>
                  <a:schemeClr val="accent3"/>
                </a:solidFill>
              </a:rPr>
              <a:t>© Western Cape Government 2012  |</a:t>
            </a:r>
            <a:endParaRPr lang="en-GB" sz="45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82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75861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25" r:id="rId1"/>
    <p:sldLayoutId id="2147487326" r:id="rId2"/>
    <p:sldLayoutId id="2147487327" r:id="rId3"/>
    <p:sldLayoutId id="2147487328" r:id="rId4"/>
    <p:sldLayoutId id="2147487329" r:id="rId5"/>
    <p:sldLayoutId id="2147487330" r:id="rId6"/>
    <p:sldLayoutId id="2147487331" r:id="rId7"/>
    <p:sldLayoutId id="2147487332" r:id="rId8"/>
    <p:sldLayoutId id="2147487333" r:id="rId9"/>
    <p:sldLayoutId id="2147487334" r:id="rId10"/>
    <p:sldLayoutId id="2147487335" r:id="rId11"/>
    <p:sldLayoutId id="2147487336" r:id="rId12"/>
    <p:sldLayoutId id="2147487337" r:id="rId13"/>
    <p:sldLayoutId id="2147487338" r:id="rId14"/>
    <p:sldLayoutId id="2147487339" r:id="rId15"/>
    <p:sldLayoutId id="2147487340" r:id="rId16"/>
    <p:sldLayoutId id="2147487341" r:id="rId17"/>
    <p:sldLayoutId id="2147487342" r:id="rId18"/>
    <p:sldLayoutId id="2147487343" r:id="rId19"/>
    <p:sldLayoutId id="2147487344" r:id="rId20"/>
    <p:sldLayoutId id="2147487345" r:id="rId21"/>
    <p:sldLayoutId id="2147487346" r:id="rId22"/>
    <p:sldLayoutId id="2147487347" r:id="rId23"/>
    <p:sldLayoutId id="2147487348" r:id="rId24"/>
  </p:sldLayoutIdLst>
  <p:hf hdr="0"/>
  <p:txStyles>
    <p:titleStyle>
      <a:lvl1pPr algn="l" defTabSz="514350" rtl="0" eaLnBrk="1" latinLnBrk="0" hangingPunct="1">
        <a:spcBef>
          <a:spcPct val="0"/>
        </a:spcBef>
        <a:buNone/>
        <a:defRPr sz="135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514350" rtl="0" eaLnBrk="1" latinLnBrk="0" hangingPunct="1">
        <a:spcBef>
          <a:spcPts val="169"/>
        </a:spcBef>
        <a:buFont typeface="Arial" pitchFamily="34" charset="0"/>
        <a:buNone/>
        <a:defRPr sz="9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01250" indent="-101250" algn="l" defTabSz="514350" rtl="0" eaLnBrk="1" latinLnBrk="0" hangingPunct="1">
        <a:spcBef>
          <a:spcPts val="169"/>
        </a:spcBef>
        <a:buClr>
          <a:srgbClr val="002060"/>
        </a:buClr>
        <a:buFontTx/>
        <a:buBlip>
          <a:blip r:embed="rId36"/>
        </a:buBlip>
        <a:defRPr sz="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02500" indent="-101250" algn="l" defTabSz="514350" rtl="0" eaLnBrk="1" latinLnBrk="0" hangingPunct="1">
        <a:spcBef>
          <a:spcPts val="169"/>
        </a:spcBef>
        <a:buClr>
          <a:schemeClr val="accent3"/>
        </a:buClr>
        <a:buFont typeface="Arial" pitchFamily="34" charset="0"/>
        <a:buChar char="•"/>
        <a:defRPr lang="en-US" sz="9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303750" indent="-101250" algn="l" defTabSz="514350" rtl="0" eaLnBrk="1" latinLnBrk="0" hangingPunct="1">
        <a:spcBef>
          <a:spcPts val="169"/>
        </a:spcBef>
        <a:buClr>
          <a:schemeClr val="accent3"/>
        </a:buClr>
        <a:buFont typeface="Arial" pitchFamily="34" charset="0"/>
        <a:buChar char="–"/>
        <a:defRPr sz="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012500" indent="-1012500" algn="l" defTabSz="514350" rtl="0" eaLnBrk="1" latinLnBrk="0" hangingPunct="1">
        <a:spcBef>
          <a:spcPts val="169"/>
        </a:spcBef>
        <a:buFont typeface="Arial" pitchFamily="34" charset="0"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spcBef>
          <a:spcPct val="20000"/>
        </a:spcBef>
        <a:buFont typeface="Arial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17EAB90-2883-4BF5-B9FC-7001720FE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4711034-53B6-47BB-BAFD-125024A4F3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EA1DD9C-D1A7-49A1-87F3-EB1AA20FBB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10988C-77FE-486A-9A1A-093B26723D1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23/20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B7C389D-6F08-467C-B0A2-88BCBD8D3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B3A95D0-E2A5-481B-82D4-75710AECA5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559059-0FB8-44D9-B59D-F3BB29F483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0778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51" r:id="rId1"/>
    <p:sldLayoutId id="2147487352" r:id="rId2"/>
    <p:sldLayoutId id="2147487353" r:id="rId3"/>
    <p:sldLayoutId id="2147487354" r:id="rId4"/>
    <p:sldLayoutId id="2147487355" r:id="rId5"/>
    <p:sldLayoutId id="2147487356" r:id="rId6"/>
    <p:sldLayoutId id="2147487357" r:id="rId7"/>
    <p:sldLayoutId id="2147487358" r:id="rId8"/>
    <p:sldLayoutId id="2147487359" r:id="rId9"/>
    <p:sldLayoutId id="2147487360" r:id="rId10"/>
    <p:sldLayoutId id="214748736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097033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437" name="think-cell Slide" r:id="rId34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WCG-PPT Slide Gallery-01112012.pptx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97973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363" r:id="rId1"/>
    <p:sldLayoutId id="2147487364" r:id="rId2"/>
    <p:sldLayoutId id="2147487365" r:id="rId3"/>
    <p:sldLayoutId id="2147487366" r:id="rId4"/>
    <p:sldLayoutId id="2147487367" r:id="rId5"/>
    <p:sldLayoutId id="2147487368" r:id="rId6"/>
    <p:sldLayoutId id="2147487369" r:id="rId7"/>
    <p:sldLayoutId id="2147487370" r:id="rId8"/>
    <p:sldLayoutId id="2147487371" r:id="rId9"/>
    <p:sldLayoutId id="2147487372" r:id="rId10"/>
    <p:sldLayoutId id="2147487373" r:id="rId11"/>
    <p:sldLayoutId id="2147487374" r:id="rId12"/>
    <p:sldLayoutId id="2147487375" r:id="rId13"/>
    <p:sldLayoutId id="2147487376" r:id="rId14"/>
    <p:sldLayoutId id="2147487377" r:id="rId15"/>
    <p:sldLayoutId id="2147487378" r:id="rId16"/>
    <p:sldLayoutId id="2147487379" r:id="rId17"/>
    <p:sldLayoutId id="2147487380" r:id="rId18"/>
    <p:sldLayoutId id="2147487381" r:id="rId19"/>
    <p:sldLayoutId id="2147487382" r:id="rId20"/>
    <p:sldLayoutId id="2147487383" r:id="rId21"/>
    <p:sldLayoutId id="2147487384" r:id="rId22"/>
    <p:sldLayoutId id="2147487385" r:id="rId23"/>
    <p:sldLayoutId id="2147487386" r:id="rId24"/>
    <p:sldLayoutId id="2147487387" r:id="rId2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8" name="think-cell Slide" r:id="rId3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0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0" y="6381329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02730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  <p:sldLayoutId id="2147484045" r:id="rId2"/>
    <p:sldLayoutId id="2147484046" r:id="rId3"/>
    <p:sldLayoutId id="2147484047" r:id="rId4"/>
    <p:sldLayoutId id="2147484048" r:id="rId5"/>
    <p:sldLayoutId id="2147484049" r:id="rId6"/>
    <p:sldLayoutId id="2147484050" r:id="rId7"/>
    <p:sldLayoutId id="2147484051" r:id="rId8"/>
    <p:sldLayoutId id="2147484052" r:id="rId9"/>
    <p:sldLayoutId id="2147484053" r:id="rId10"/>
    <p:sldLayoutId id="2147484054" r:id="rId11"/>
    <p:sldLayoutId id="2147484055" r:id="rId12"/>
    <p:sldLayoutId id="2147484056" r:id="rId13"/>
    <p:sldLayoutId id="2147484057" r:id="rId14"/>
    <p:sldLayoutId id="2147484058" r:id="rId15"/>
    <p:sldLayoutId id="2147484059" r:id="rId16"/>
    <p:sldLayoutId id="2147484060" r:id="rId17"/>
    <p:sldLayoutId id="2147484061" r:id="rId18"/>
    <p:sldLayoutId id="2147484062" r:id="rId19"/>
    <p:sldLayoutId id="2147484063" r:id="rId20"/>
    <p:sldLayoutId id="2147484064" r:id="rId21"/>
    <p:sldLayoutId id="2147484065" r:id="rId22"/>
    <p:sldLayoutId id="2147484066" r:id="rId23"/>
    <p:sldLayoutId id="214748406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02" name="think-cell Slide" r:id="rId3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0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0" y="6381329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04009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7" r:id="rId1"/>
    <p:sldLayoutId id="2147484418" r:id="rId2"/>
    <p:sldLayoutId id="2147484419" r:id="rId3"/>
    <p:sldLayoutId id="2147484420" r:id="rId4"/>
    <p:sldLayoutId id="2147484421" r:id="rId5"/>
    <p:sldLayoutId id="2147484422" r:id="rId6"/>
    <p:sldLayoutId id="2147484423" r:id="rId7"/>
    <p:sldLayoutId id="2147484424" r:id="rId8"/>
    <p:sldLayoutId id="2147484425" r:id="rId9"/>
    <p:sldLayoutId id="2147484426" r:id="rId10"/>
    <p:sldLayoutId id="2147484427" r:id="rId11"/>
    <p:sldLayoutId id="2147484428" r:id="rId12"/>
    <p:sldLayoutId id="2147484429" r:id="rId13"/>
    <p:sldLayoutId id="2147484430" r:id="rId14"/>
    <p:sldLayoutId id="2147484431" r:id="rId15"/>
    <p:sldLayoutId id="2147484432" r:id="rId16"/>
    <p:sldLayoutId id="2147484433" r:id="rId17"/>
    <p:sldLayoutId id="2147484434" r:id="rId18"/>
    <p:sldLayoutId id="2147484435" r:id="rId19"/>
    <p:sldLayoutId id="2147484436" r:id="rId20"/>
    <p:sldLayoutId id="2147484437" r:id="rId21"/>
    <p:sldLayoutId id="2147484438" r:id="rId22"/>
    <p:sldLayoutId id="2147484439" r:id="rId23"/>
    <p:sldLayoutId id="2147484440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126" name="think-cell Slide" r:id="rId33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54000" tIns="54000" rIns="0" bIns="0" rtlCol="0" anchor="b"/>
          <a:lstStyle/>
          <a:p>
            <a:pPr lvl="0"/>
            <a:r>
              <a:rPr lang="en-US" sz="600" dirty="0">
                <a:solidFill>
                  <a:schemeClr val="accent3"/>
                </a:solidFill>
              </a:rPr>
              <a:t>© Western Cape Government 2012  |</a:t>
            </a:r>
            <a:endParaRPr lang="en-GB" sz="600" dirty="0">
              <a:solidFill>
                <a:schemeClr val="accent3"/>
              </a:solidFill>
            </a:endParaRPr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3" y="898355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9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1" y="6381330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38637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73" r:id="rId2"/>
    <p:sldLayoutId id="2147484574" r:id="rId3"/>
    <p:sldLayoutId id="2147484575" r:id="rId4"/>
    <p:sldLayoutId id="2147484576" r:id="rId5"/>
    <p:sldLayoutId id="2147484577" r:id="rId6"/>
    <p:sldLayoutId id="2147484578" r:id="rId7"/>
    <p:sldLayoutId id="2147484579" r:id="rId8"/>
    <p:sldLayoutId id="2147484580" r:id="rId9"/>
    <p:sldLayoutId id="2147484581" r:id="rId10"/>
    <p:sldLayoutId id="2147484582" r:id="rId11"/>
    <p:sldLayoutId id="2147484583" r:id="rId12"/>
    <p:sldLayoutId id="2147484584" r:id="rId13"/>
    <p:sldLayoutId id="2147484585" r:id="rId14"/>
    <p:sldLayoutId id="2147484586" r:id="rId15"/>
    <p:sldLayoutId id="2147484587" r:id="rId16"/>
    <p:sldLayoutId id="2147484588" r:id="rId17"/>
    <p:sldLayoutId id="2147484589" r:id="rId18"/>
    <p:sldLayoutId id="2147484590" r:id="rId19"/>
    <p:sldLayoutId id="2147484591" r:id="rId20"/>
    <p:sldLayoutId id="2147484592" r:id="rId21"/>
    <p:sldLayoutId id="2147484593" r:id="rId22"/>
    <p:sldLayoutId id="2147484594" r:id="rId23"/>
    <p:sldLayoutId id="2147484595" r:id="rId24"/>
    <p:sldLayoutId id="2147485491" r:id="rId25"/>
  </p:sldLayoutIdLst>
  <p:hf hdr="0"/>
  <p:txStyles>
    <p:titleStyle>
      <a:lvl1pPr algn="l" defTabSz="685814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14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3" indent="-135003" algn="l" defTabSz="685814" rtl="0" eaLnBrk="1" latinLnBrk="0" hangingPunct="1">
        <a:spcBef>
          <a:spcPts val="225"/>
        </a:spcBef>
        <a:buClr>
          <a:srgbClr val="002060"/>
        </a:buClr>
        <a:buFontTx/>
        <a:buBlip>
          <a:blip r:embed="rId35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5" indent="-135003" algn="l" defTabSz="685814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8" indent="-135003" algn="l" defTabSz="685814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27" indent="-1350027" algn="l" defTabSz="685814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88" indent="-171454" algn="l" defTabSz="68581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94" indent="-171454" algn="l" defTabSz="68581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02" indent="-171454" algn="l" defTabSz="68581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09" indent="-171454" algn="l" defTabSz="68581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7" algn="l" defTabSz="68581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4" algn="l" defTabSz="68581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0" algn="l" defTabSz="68581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28" algn="l" defTabSz="68581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35" algn="l" defTabSz="68581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41" algn="l" defTabSz="68581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48" algn="l" defTabSz="68581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55" algn="l" defTabSz="68581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50" name="think-cell Slide" r:id="rId3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0" y="6381329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07799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8" r:id="rId1"/>
    <p:sldLayoutId id="2147484889" r:id="rId2"/>
    <p:sldLayoutId id="2147484890" r:id="rId3"/>
    <p:sldLayoutId id="2147484891" r:id="rId4"/>
    <p:sldLayoutId id="2147484892" r:id="rId5"/>
    <p:sldLayoutId id="2147484893" r:id="rId6"/>
    <p:sldLayoutId id="2147484894" r:id="rId7"/>
    <p:sldLayoutId id="2147484895" r:id="rId8"/>
    <p:sldLayoutId id="2147484896" r:id="rId9"/>
    <p:sldLayoutId id="2147484897" r:id="rId10"/>
    <p:sldLayoutId id="2147484898" r:id="rId11"/>
    <p:sldLayoutId id="2147484899" r:id="rId12"/>
    <p:sldLayoutId id="2147484900" r:id="rId13"/>
    <p:sldLayoutId id="2147484901" r:id="rId14"/>
    <p:sldLayoutId id="2147484902" r:id="rId15"/>
    <p:sldLayoutId id="2147484903" r:id="rId16"/>
    <p:sldLayoutId id="2147484904" r:id="rId17"/>
    <p:sldLayoutId id="2147484905" r:id="rId18"/>
    <p:sldLayoutId id="2147484906" r:id="rId19"/>
    <p:sldLayoutId id="2147484907" r:id="rId20"/>
    <p:sldLayoutId id="2147484908" r:id="rId21"/>
    <p:sldLayoutId id="2147484909" r:id="rId22"/>
    <p:sldLayoutId id="2147484910" r:id="rId23"/>
    <p:sldLayoutId id="2147484911" r:id="rId24"/>
    <p:sldLayoutId id="2147484912" r:id="rId2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3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174" name="think-cell Slide" r:id="rId16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13"/>
            </p:custDataLst>
          </p:nvPr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0" y="740233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96869" y="6424383"/>
            <a:ext cx="913396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6125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0" r:id="rId1"/>
    <p:sldLayoutId id="2147484941" r:id="rId2"/>
    <p:sldLayoutId id="2147484942" r:id="rId3"/>
    <p:sldLayoutId id="2147484943" r:id="rId4"/>
    <p:sldLayoutId id="2147484944" r:id="rId5"/>
    <p:sldLayoutId id="2147484945" r:id="rId6"/>
    <p:sldLayoutId id="2147484946" r:id="rId7"/>
    <p:sldLayoutId id="2147484947" r:id="rId8"/>
    <p:sldLayoutId id="2147484948" r:id="rId9"/>
    <p:sldLayoutId id="2147484949" r:id="rId10"/>
  </p:sldLayoutIdLst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19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8" name="think-cell Slide" r:id="rId30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0" y="6381329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89546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0" r:id="rId1"/>
    <p:sldLayoutId id="2147485041" r:id="rId2"/>
    <p:sldLayoutId id="2147485042" r:id="rId3"/>
    <p:sldLayoutId id="2147485043" r:id="rId4"/>
    <p:sldLayoutId id="2147485044" r:id="rId5"/>
    <p:sldLayoutId id="2147485045" r:id="rId6"/>
    <p:sldLayoutId id="2147485046" r:id="rId7"/>
    <p:sldLayoutId id="2147485047" r:id="rId8"/>
    <p:sldLayoutId id="2147485048" r:id="rId9"/>
    <p:sldLayoutId id="2147485049" r:id="rId10"/>
    <p:sldLayoutId id="2147485050" r:id="rId11"/>
    <p:sldLayoutId id="2147485051" r:id="rId12"/>
    <p:sldLayoutId id="2147485052" r:id="rId13"/>
    <p:sldLayoutId id="2147485053" r:id="rId14"/>
    <p:sldLayoutId id="2147485054" r:id="rId15"/>
    <p:sldLayoutId id="2147485055" r:id="rId16"/>
    <p:sldLayoutId id="2147485056" r:id="rId17"/>
    <p:sldLayoutId id="2147485057" r:id="rId18"/>
    <p:sldLayoutId id="2147485058" r:id="rId19"/>
    <p:sldLayoutId id="2147485059" r:id="rId20"/>
    <p:sldLayoutId id="2147485060" r:id="rId21"/>
    <p:sldLayoutId id="2147485061" r:id="rId22"/>
    <p:sldLayoutId id="2147485062" r:id="rId23"/>
    <p:sldLayoutId id="2147485063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2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22" name="think-cell Slide" r:id="rId34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Go to Insert &gt; Header &amp; Footer &gt; Enter presentation name into footer field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1520" y="6381329"/>
            <a:ext cx="927518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72737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0" r:id="rId1"/>
    <p:sldLayoutId id="2147485161" r:id="rId2"/>
    <p:sldLayoutId id="2147485162" r:id="rId3"/>
    <p:sldLayoutId id="2147485163" r:id="rId4"/>
    <p:sldLayoutId id="2147485164" r:id="rId5"/>
    <p:sldLayoutId id="2147485165" r:id="rId6"/>
    <p:sldLayoutId id="2147485166" r:id="rId7"/>
    <p:sldLayoutId id="2147485167" r:id="rId8"/>
    <p:sldLayoutId id="2147485168" r:id="rId9"/>
    <p:sldLayoutId id="2147485169" r:id="rId10"/>
    <p:sldLayoutId id="2147485170" r:id="rId11"/>
    <p:sldLayoutId id="2147485171" r:id="rId12"/>
    <p:sldLayoutId id="2147485172" r:id="rId13"/>
    <p:sldLayoutId id="2147485173" r:id="rId14"/>
    <p:sldLayoutId id="2147485174" r:id="rId15"/>
    <p:sldLayoutId id="2147485175" r:id="rId16"/>
    <p:sldLayoutId id="2147485176" r:id="rId17"/>
    <p:sldLayoutId id="2147485177" r:id="rId18"/>
    <p:sldLayoutId id="2147485178" r:id="rId19"/>
    <p:sldLayoutId id="2147485179" r:id="rId20"/>
    <p:sldLayoutId id="2147485180" r:id="rId21"/>
    <p:sldLayoutId id="2147485181" r:id="rId22"/>
    <p:sldLayoutId id="2147485182" r:id="rId23"/>
    <p:sldLayoutId id="2147485183" r:id="rId24"/>
    <p:sldLayoutId id="2147485661" r:id="rId25"/>
    <p:sldLayoutId id="2147487245" r:id="rId26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0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340.xml"/><Relationship Id="rId1" Type="http://schemas.openxmlformats.org/officeDocument/2006/relationships/themeOverride" Target="../theme/themeOverrid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30.xml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2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jpe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3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8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8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8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7" Type="http://schemas.openxmlformats.org/officeDocument/2006/relationships/image" Target="../media/image71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69.png"/><Relationship Id="rId5" Type="http://schemas.openxmlformats.org/officeDocument/2006/relationships/hyperlink" Target="http://en.wikipedia.org/wiki/file:oxygen_symbol.svg" TargetMode="External"/><Relationship Id="rId4" Type="http://schemas.openxmlformats.org/officeDocument/2006/relationships/image" Target="../media/image6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71.png"/><Relationship Id="rId7" Type="http://schemas.openxmlformats.org/officeDocument/2006/relationships/image" Target="../media/image73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72.jpeg"/><Relationship Id="rId5" Type="http://schemas.openxmlformats.org/officeDocument/2006/relationships/image" Target="../media/image68.svg"/><Relationship Id="rId4" Type="http://schemas.openxmlformats.org/officeDocument/2006/relationships/image" Target="../media/image67.png"/><Relationship Id="rId9" Type="http://schemas.openxmlformats.org/officeDocument/2006/relationships/image" Target="../media/image7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0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94.xml"/><Relationship Id="rId6" Type="http://schemas.openxmlformats.org/officeDocument/2006/relationships/image" Target="../media/image85.pn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0" Type="http://schemas.openxmlformats.org/officeDocument/2006/relationships/image" Target="../media/image89.png"/><Relationship Id="rId4" Type="http://schemas.openxmlformats.org/officeDocument/2006/relationships/image" Target="../media/image83.png"/><Relationship Id="rId9" Type="http://schemas.openxmlformats.org/officeDocument/2006/relationships/image" Target="../media/image8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9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2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2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9.xml"/><Relationship Id="rId5" Type="http://schemas.openxmlformats.org/officeDocument/2006/relationships/image" Target="../media/image98.png"/><Relationship Id="rId4" Type="http://schemas.openxmlformats.org/officeDocument/2006/relationships/image" Target="../media/image8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powerbi.com/groups/ffe8e4c2-ef7e-4882-8491-0bc55d070938/reports/30e69f85-9223-48ac-99d7-9e8c18f5a938/ReportSection663dd4febeb941ff8886?pbi_source=PowerPoint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4.xml"/><Relationship Id="rId4" Type="http://schemas.openxmlformats.org/officeDocument/2006/relationships/image" Target="../media/image99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0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8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6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hyperlink" Target="https://app.powerbi.com/view?r=eyJrIjoiMDNlNTMyZWUtYjkyYS00NGE1LTliZTktZDI4MDU0ZTU0OTk1IiwidCI6ImE1MTczNzFjLWYzMTYtNDg0Yy1hYzVjLTk4Yjc2MTI3NzkwYSIsImMiOjl9" TargetMode="External"/><Relationship Id="rId1" Type="http://schemas.openxmlformats.org/officeDocument/2006/relationships/slideLayout" Target="../slideLayouts/slideLayout182.xml"/><Relationship Id="rId4" Type="http://schemas.openxmlformats.org/officeDocument/2006/relationships/chart" Target="../charts/char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8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app.powerbi.com/view?r=eyJrIjoiMDNlNTMyZWUtYjkyYS00NGE1LTliZTktZDI4MDU0ZTU0OTk1IiwidCI6ImE1MTczNzFjLWYzMTYtNDg0Yy1hYzVjLTk4Yjc2MTI3NzkwYSIsImMiOjl9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2.xml"/><Relationship Id="rId4" Type="http://schemas.openxmlformats.org/officeDocument/2006/relationships/chart" Target="../charts/chart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2.xml"/><Relationship Id="rId4" Type="http://schemas.openxmlformats.org/officeDocument/2006/relationships/image" Target="../media/image103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4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2.xml"/><Relationship Id="rId4" Type="http://schemas.openxmlformats.org/officeDocument/2006/relationships/image" Target="../media/image105.jpe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13" Type="http://schemas.openxmlformats.org/officeDocument/2006/relationships/diagramData" Target="../diagrams/data7.xml"/><Relationship Id="rId18" Type="http://schemas.openxmlformats.org/officeDocument/2006/relationships/diagramData" Target="../diagrams/data8.xml"/><Relationship Id="rId26" Type="http://schemas.openxmlformats.org/officeDocument/2006/relationships/diagramColors" Target="../diagrams/colors9.xml"/><Relationship Id="rId3" Type="http://schemas.openxmlformats.org/officeDocument/2006/relationships/diagramData" Target="../diagrams/data5.xml"/><Relationship Id="rId21" Type="http://schemas.openxmlformats.org/officeDocument/2006/relationships/diagramColors" Target="../diagrams/colors8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17" Type="http://schemas.microsoft.com/office/2007/relationships/diagramDrawing" Target="../diagrams/drawing7.xml"/><Relationship Id="rId25" Type="http://schemas.openxmlformats.org/officeDocument/2006/relationships/diagramQuickStyle" Target="../diagrams/quickStyle9.xml"/><Relationship Id="rId2" Type="http://schemas.openxmlformats.org/officeDocument/2006/relationships/notesSlide" Target="../notesSlides/notesSlide16.xml"/><Relationship Id="rId16" Type="http://schemas.openxmlformats.org/officeDocument/2006/relationships/diagramColors" Target="../diagrams/colors7.xml"/><Relationship Id="rId20" Type="http://schemas.openxmlformats.org/officeDocument/2006/relationships/diagramQuickStyle" Target="../diagrams/quickStyle8.xml"/><Relationship Id="rId29" Type="http://schemas.openxmlformats.org/officeDocument/2006/relationships/image" Target="../media/image107.png"/><Relationship Id="rId1" Type="http://schemas.openxmlformats.org/officeDocument/2006/relationships/slideLayout" Target="../slideLayouts/slideLayout182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24" Type="http://schemas.openxmlformats.org/officeDocument/2006/relationships/diagramLayout" Target="../diagrams/layout9.xml"/><Relationship Id="rId32" Type="http://schemas.openxmlformats.org/officeDocument/2006/relationships/image" Target="../media/image110.png"/><Relationship Id="rId5" Type="http://schemas.openxmlformats.org/officeDocument/2006/relationships/diagramQuickStyle" Target="../diagrams/quickStyle5.xml"/><Relationship Id="rId15" Type="http://schemas.openxmlformats.org/officeDocument/2006/relationships/diagramQuickStyle" Target="../diagrams/quickStyle7.xml"/><Relationship Id="rId23" Type="http://schemas.openxmlformats.org/officeDocument/2006/relationships/diagramData" Target="../diagrams/data9.xml"/><Relationship Id="rId28" Type="http://schemas.openxmlformats.org/officeDocument/2006/relationships/image" Target="../media/image106.png"/><Relationship Id="rId10" Type="http://schemas.openxmlformats.org/officeDocument/2006/relationships/diagramQuickStyle" Target="../diagrams/quickStyle6.xml"/><Relationship Id="rId19" Type="http://schemas.openxmlformats.org/officeDocument/2006/relationships/diagramLayout" Target="../diagrams/layout8.xml"/><Relationship Id="rId31" Type="http://schemas.openxmlformats.org/officeDocument/2006/relationships/image" Target="../media/image109.png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Relationship Id="rId14" Type="http://schemas.openxmlformats.org/officeDocument/2006/relationships/diagramLayout" Target="../diagrams/layout7.xml"/><Relationship Id="rId22" Type="http://schemas.microsoft.com/office/2007/relationships/diagramDrawing" Target="../diagrams/drawing8.xml"/><Relationship Id="rId27" Type="http://schemas.microsoft.com/office/2007/relationships/diagramDrawing" Target="../diagrams/drawing9.xml"/><Relationship Id="rId30" Type="http://schemas.openxmlformats.org/officeDocument/2006/relationships/image" Target="../media/image108.pn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9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29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29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9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9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94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0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9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jpeg"/><Relationship Id="rId3" Type="http://schemas.openxmlformats.org/officeDocument/2006/relationships/image" Target="../media/image119.jpeg"/><Relationship Id="rId7" Type="http://schemas.openxmlformats.org/officeDocument/2006/relationships/image" Target="../media/image123.jpe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424.xml"/><Relationship Id="rId6" Type="http://schemas.openxmlformats.org/officeDocument/2006/relationships/image" Target="../media/image122.jpeg"/><Relationship Id="rId5" Type="http://schemas.openxmlformats.org/officeDocument/2006/relationships/image" Target="../media/image121.jpeg"/><Relationship Id="rId4" Type="http://schemas.openxmlformats.org/officeDocument/2006/relationships/image" Target="../media/image120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417.xml"/><Relationship Id="rId4" Type="http://schemas.openxmlformats.org/officeDocument/2006/relationships/image" Target="../media/image127.jpe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419.xml"/><Relationship Id="rId5" Type="http://schemas.openxmlformats.org/officeDocument/2006/relationships/image" Target="../media/image131.jpeg"/><Relationship Id="rId4" Type="http://schemas.openxmlformats.org/officeDocument/2006/relationships/image" Target="../media/image130.jpe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jpeg"/><Relationship Id="rId2" Type="http://schemas.openxmlformats.org/officeDocument/2006/relationships/image" Target="../media/image132.jpeg"/><Relationship Id="rId1" Type="http://schemas.openxmlformats.org/officeDocument/2006/relationships/slideLayout" Target="../slideLayouts/slideLayout419.xml"/><Relationship Id="rId4" Type="http://schemas.openxmlformats.org/officeDocument/2006/relationships/image" Target="../media/image134.jpeg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8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0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8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3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3038" y="3089296"/>
            <a:ext cx="7776864" cy="679407"/>
          </a:xfrm>
        </p:spPr>
        <p:txBody>
          <a:bodyPr>
            <a:normAutofit/>
          </a:bodyPr>
          <a:lstStyle/>
          <a:p>
            <a:r>
              <a:rPr lang="en-GB" b="1" dirty="0"/>
              <a:t> </a:t>
            </a:r>
            <a:r>
              <a:rPr lang="en-GB" b="1" dirty="0" err="1"/>
              <a:t>Adhoc</a:t>
            </a:r>
            <a:r>
              <a:rPr lang="en-GB" b="1" dirty="0"/>
              <a:t> Committee on </a:t>
            </a:r>
            <a:r>
              <a:rPr lang="en-GB" b="1" dirty="0" err="1"/>
              <a:t>Covid</a:t>
            </a:r>
            <a:r>
              <a:rPr lang="en-GB" b="1" dirty="0"/>
              <a:t> - 19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663475" y="3861048"/>
            <a:ext cx="3960440" cy="1296144"/>
          </a:xfrm>
        </p:spPr>
        <p:txBody>
          <a:bodyPr>
            <a:normAutofit/>
          </a:bodyPr>
          <a:lstStyle/>
          <a:p>
            <a:pPr marL="0" indent="0" defTabSz="914400" rtl="0" eaLnBrk="1" latinLnBrk="0" hangingPunct="1">
              <a:spcBef>
                <a:spcPts val="300"/>
              </a:spcBef>
              <a:buFont typeface="Arial" pitchFamily="34" charset="0"/>
              <a:buNone/>
            </a:pPr>
            <a:r>
              <a:rPr lang="en-GB" sz="1600" dirty="0"/>
              <a:t>Health Update  </a:t>
            </a:r>
          </a:p>
          <a:p>
            <a:pPr marL="0" indent="0" defTabSz="914400" rtl="0" eaLnBrk="1" latinLnBrk="0" hangingPunct="1">
              <a:spcBef>
                <a:spcPts val="300"/>
              </a:spcBef>
              <a:buFont typeface="Arial" pitchFamily="34" charset="0"/>
              <a:buNone/>
            </a:pPr>
            <a:endParaRPr lang="en-GB" sz="1600" dirty="0"/>
          </a:p>
          <a:p>
            <a:pPr marL="0" indent="0" defTabSz="914400" rtl="0" eaLnBrk="1" latinLnBrk="0" hangingPunct="1">
              <a:spcBef>
                <a:spcPts val="300"/>
              </a:spcBef>
              <a:buFont typeface="Arial" pitchFamily="34" charset="0"/>
              <a:buNone/>
            </a:pPr>
            <a:r>
              <a:rPr lang="en-GB" sz="1600" dirty="0"/>
              <a:t>Dr K Cloete  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6872273" y="5415022"/>
            <a:ext cx="1800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</a:t>
            </a:r>
            <a:r>
              <a:rPr lang="en-US" dirty="0">
                <a:solidFill>
                  <a:prstClr val="white"/>
                </a:solidFill>
                <a:latin typeface="Century Gothic"/>
              </a:rPr>
              <a:t> 23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July 2021  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857474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F13178E-6671-4542-8C8A-1522BFF01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6416" y="6581129"/>
            <a:ext cx="514400" cy="23083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109F247F-EEFA-4291-88E3-1659BE8BBA5A}"/>
              </a:ext>
            </a:extLst>
          </p:cNvPr>
          <p:cNvSpPr txBox="1"/>
          <p:nvPr/>
        </p:nvSpPr>
        <p:spPr>
          <a:xfrm>
            <a:off x="395536" y="5934798"/>
            <a:ext cx="83529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ere are currently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2 730 active infectious cases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  <a:b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his is </a:t>
            </a:r>
            <a:r>
              <a:rPr lang="en-ZA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358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more active cases (4.3%) 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 the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ast week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60E79A5-BE52-4035-9A64-289A1286B28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8625" y="78710"/>
            <a:ext cx="8286750" cy="576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190297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Rectangle 45">
            <a:extLst>
              <a:ext uri="{FF2B5EF4-FFF2-40B4-BE49-F238E27FC236}">
                <a16:creationId xmlns:a16="http://schemas.microsoft.com/office/drawing/2014/main" xmlns="" id="{9B76D444-2756-434F-AE61-96D69830C13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A27B6159-7734-4564-9E0F-C4BC43C36E5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ltGray">
          <a:xfrm>
            <a:off x="241173" y="4782312"/>
            <a:ext cx="8661654" cy="1755648"/>
          </a:xfrm>
          <a:prstGeom prst="rect">
            <a:avLst/>
          </a:prstGeom>
          <a:solidFill>
            <a:schemeClr val="tx1">
              <a:alpha val="93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xmlns="" id="{06EC7DFA-AC8F-4349-B77F-69A75628C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5009083"/>
            <a:ext cx="2167128" cy="134599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2300" b="1" dirty="0">
                <a:solidFill>
                  <a:schemeClr val="bg1"/>
                </a:solidFill>
              </a:rPr>
              <a:t>Currently admitted patient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E2FFB46B-05BC-4950-B18A-9593FDAE6ED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CxnSpPr>
        <p:spPr>
          <a:xfrm flipV="1">
            <a:off x="3044952" y="5237979"/>
            <a:ext cx="0" cy="914400"/>
          </a:xfrm>
          <a:prstGeom prst="line">
            <a:avLst/>
          </a:prstGeom>
          <a:ln w="19050">
            <a:solidFill>
              <a:schemeClr val="bg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39C89D7-C86C-4E32-BCE8-D5B1E5C0B2A3}"/>
              </a:ext>
            </a:extLst>
          </p:cNvPr>
          <p:cNvSpPr txBox="1"/>
          <p:nvPr/>
        </p:nvSpPr>
        <p:spPr>
          <a:xfrm>
            <a:off x="2996948" y="5006407"/>
            <a:ext cx="5953885" cy="14978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22860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sations continue to increase in both the public and private sectors but the percent increases are smaller.</a:t>
            </a:r>
          </a:p>
          <a:p>
            <a:pPr marL="22860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rrently 3 </a:t>
            </a:r>
            <a:r>
              <a:rPr lang="en-US" sz="1600" b="1" dirty="0">
                <a:solidFill>
                  <a:prstClr val="black"/>
                </a:solidFill>
                <a:latin typeface="Calibri" panose="020F0502020204030204"/>
              </a:rPr>
              <a:t>010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tients are admitted with COVID-19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xmlns="" id="{90BC6ED5-0B54-4C88-9173-0183D4795D97}"/>
              </a:ext>
            </a:extLst>
          </p:cNvPr>
          <p:cNvCxnSpPr/>
          <p:nvPr/>
        </p:nvCxnSpPr>
        <p:spPr>
          <a:xfrm>
            <a:off x="7668344" y="1628800"/>
            <a:ext cx="0" cy="360040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headEnd type="none" w="med" len="med"/>
            <a:tailEnd type="arrow" w="med" len="med"/>
          </a:ln>
          <a:effectLst/>
        </p:spPr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6120C735-6590-45BD-9031-3C73D8C3247E}"/>
              </a:ext>
            </a:extLst>
          </p:cNvPr>
          <p:cNvCxnSpPr/>
          <p:nvPr/>
        </p:nvCxnSpPr>
        <p:spPr>
          <a:xfrm>
            <a:off x="4499992" y="1628800"/>
            <a:ext cx="0" cy="360040"/>
          </a:xfrm>
          <a:prstGeom prst="straightConnector1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headEnd type="none" w="med" len="med"/>
            <a:tailEnd type="arrow" w="med" len="med"/>
          </a:ln>
          <a:effectLst/>
        </p:spPr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xmlns="" id="{6DC4E5D3-5932-487A-A518-8EF2451EC47A}"/>
              </a:ext>
            </a:extLst>
          </p:cNvPr>
          <p:cNvCxnSpPr/>
          <p:nvPr/>
        </p:nvCxnSpPr>
        <p:spPr>
          <a:xfrm>
            <a:off x="7812360" y="1484784"/>
            <a:ext cx="0" cy="432048"/>
          </a:xfrm>
          <a:prstGeom prst="straightConnector1">
            <a:avLst/>
          </a:prstGeom>
          <a:ln w="19050">
            <a:solidFill>
              <a:schemeClr val="bg1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EFCC9AA-D2BC-428F-B18D-AC2C6D04D6F4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03166" y="-143172"/>
            <a:ext cx="7502782" cy="5273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94626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7BC3ABF-24D7-49C0-AB72-E9679CD1A16C}"/>
              </a:ext>
            </a:extLst>
          </p:cNvPr>
          <p:cNvSpPr txBox="1"/>
          <p:nvPr/>
        </p:nvSpPr>
        <p:spPr>
          <a:xfrm>
            <a:off x="6804248" y="2367464"/>
            <a:ext cx="201622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stern Cape and Cape Town Metro excess deaths continue increasing steeply and have exceeded first wave peak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F84542D7-D56C-4496-BA25-EE53CDCC55EC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411094" y="6093296"/>
            <a:ext cx="2732906" cy="69490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D41BA2F-D99E-405F-A077-31132B047B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7505" y="41917"/>
            <a:ext cx="6699160" cy="281102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67CF508-AB67-49E9-B671-4F1F0077CD9D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07505" y="2954738"/>
            <a:ext cx="6696743" cy="2771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756911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2CA7FDBE-A53C-461E-B43A-BB8FDD139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292" y="188640"/>
            <a:ext cx="2396492" cy="3785419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defTabSz="914400">
              <a:spcAft>
                <a:spcPts val="600"/>
              </a:spcAft>
              <a:buNone/>
              <a:defRPr/>
            </a:pPr>
            <a:r>
              <a:rPr lang="en-US" sz="2400" b="1" dirty="0">
                <a:solidFill>
                  <a:srgbClr val="001489"/>
                </a:solidFill>
              </a:rPr>
              <a:t>20 July 2021</a:t>
            </a:r>
          </a:p>
          <a:p>
            <a:pPr marL="0" indent="0" defTabSz="914400">
              <a:spcAft>
                <a:spcPts val="600"/>
              </a:spcAft>
              <a:buNone/>
              <a:defRPr/>
            </a:pPr>
            <a:r>
              <a:rPr lang="en-US" sz="2400" b="1" dirty="0">
                <a:solidFill>
                  <a:srgbClr val="001489"/>
                </a:solidFill>
              </a:rPr>
              <a:t>Surveillance Huddle Notes</a:t>
            </a:r>
          </a:p>
          <a:p>
            <a:pPr marL="0" indent="0" defTabSz="914400">
              <a:spcAft>
                <a:spcPts val="600"/>
              </a:spcAft>
              <a:buNone/>
              <a:defRPr/>
            </a:pPr>
            <a:endParaRPr lang="en-US" sz="1700" dirty="0"/>
          </a:p>
          <a:p>
            <a:pPr marL="0" indent="0" defTabSz="914400">
              <a:spcAft>
                <a:spcPts val="600"/>
              </a:spcAft>
              <a:buNone/>
              <a:defRPr/>
            </a:pPr>
            <a:endParaRPr lang="en-US" sz="17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3CB6BA5-800F-420E-9D93-95760DFCD280}"/>
              </a:ext>
            </a:extLst>
          </p:cNvPr>
          <p:cNvSpPr/>
          <p:nvPr/>
        </p:nvSpPr>
        <p:spPr>
          <a:xfrm>
            <a:off x="2699792" y="0"/>
            <a:ext cx="6444208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5D4F2CF-1493-4FE7-A2DE-8C99E200B53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99592" y="1556792"/>
            <a:ext cx="732799" cy="70251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FAD03866-449F-47B6-84FE-AEDF7B372536}"/>
              </a:ext>
            </a:extLst>
          </p:cNvPr>
          <p:cNvSpPr txBox="1"/>
          <p:nvPr/>
        </p:nvSpPr>
        <p:spPr>
          <a:xfrm>
            <a:off x="231292" y="2564904"/>
            <a:ext cx="239649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ing case numbers, and now admissions and deaths across the provin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/>
            </a:r>
            <a:b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ain in the phase of widespread community transmission and mitigat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ZA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usehold, workplace and LTCF / congregate residential cluster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9BDF269-16EC-49B5-822E-6B17B5806A8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978671" y="304800"/>
            <a:ext cx="5886450" cy="624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475305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8500AE9-0856-484D-BE05-54F2CE8A074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0440" y="1772816"/>
            <a:ext cx="8954750" cy="507239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F4AB6473-AF18-4483-BCB2-6083E0775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259977"/>
            <a:ext cx="5328592" cy="559256"/>
          </a:xfrm>
        </p:spPr>
        <p:txBody>
          <a:bodyPr/>
          <a:lstStyle/>
          <a:p>
            <a:r>
              <a:rPr lang="en-US" dirty="0"/>
              <a:t>Comparing the 3 waves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EE75A5E-C574-4E7A-824D-E8F1D9F372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F353F478-2FD6-4495-A27D-B77689BE98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39427" y="33869"/>
            <a:ext cx="4680520" cy="386281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3rd wave appears to be plateauing slightly lower than 2</a:t>
            </a:r>
            <a:r>
              <a:rPr lang="en-US" sz="2000" b="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 wave but could still be due to limited test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Northern case incidence same as 2</a:t>
            </a:r>
            <a:r>
              <a:rPr lang="en-US" sz="2000" b="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 wave pea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 err="1">
                <a:latin typeface="Calibri" panose="020F0502020204030204" pitchFamily="34" charset="0"/>
                <a:cs typeface="Calibri" panose="020F0502020204030204" pitchFamily="34" charset="0"/>
              </a:rPr>
              <a:t>Klipfontein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, Mitchells Plain similar to 2</a:t>
            </a:r>
            <a:r>
              <a:rPr lang="en-US" sz="2000" b="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 wave.</a:t>
            </a:r>
          </a:p>
        </p:txBody>
      </p:sp>
    </p:spTree>
    <p:extLst>
      <p:ext uri="{BB962C8B-B14F-4D97-AF65-F5344CB8AC3E}">
        <p14:creationId xmlns:p14="http://schemas.microsoft.com/office/powerpoint/2010/main" xmlns="" val="1119778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800377" y="85738"/>
            <a:ext cx="638087" cy="347152"/>
          </a:xfrm>
          <a:prstGeom prst="rect">
            <a:avLst/>
          </a:prstGeom>
          <a:extLst>
            <a:ext uri="{FAA26D3D-D897-4be2-8F04-BA451C77F1D7}">
              <ma14:placeholderFlag xmlns:wpc="http://schemas.microsoft.com/office/word/2010/wordprocessingCanvas" xmlns:cx="http://schemas.microsoft.com/office/drawing/2014/chartex" xmlns:cx1="http://schemas.microsoft.com/office/drawing/2015/9/8/chartex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mc="http://schemas.openxmlformats.org/markup-compatibility/2006" xmlns:aink="http://schemas.microsoft.com/office/drawing/2016/ink" xmlns:am3d="http://schemas.microsoft.com/office/drawing/2017/model3d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cid="http://schemas.microsoft.com/office/word/2016/wordml/cid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pic="http://schemas.openxmlformats.org/drawingml/2006/picture" xmlns:arto="http://schemas.microsoft.com/office/word/2006/arto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/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732024" y="1007112"/>
          <a:ext cx="5622800" cy="2952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22800">
                  <a:extLst>
                    <a:ext uri="{9D8B030D-6E8A-4147-A177-3AD203B41FA5}">
                      <a16:colId xmlns:a16="http://schemas.microsoft.com/office/drawing/2014/main" xmlns="" val="999700848"/>
                    </a:ext>
                  </a:extLst>
                </a:gridCol>
              </a:tblGrid>
              <a:tr h="211455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City of Cape Town,</a:t>
                      </a:r>
                      <a:r>
                        <a:rPr lang="en-GB" sz="1600" baseline="0" dirty="0"/>
                        <a:t> Breede Valley AND Overberg</a:t>
                      </a:r>
                      <a:endParaRPr lang="en-GB" sz="1600" dirty="0"/>
                    </a:p>
                  </a:txBody>
                  <a:tcPr marL="51435" marR="51435" marT="25718" marB="25718"/>
                </a:tc>
                <a:extLst>
                  <a:ext uri="{0D108BD9-81ED-4DB2-BD59-A6C34878D82A}">
                    <a16:rowId xmlns:a16="http://schemas.microsoft.com/office/drawing/2014/main" xmlns="" val="1181329484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81855" y="596914"/>
            <a:ext cx="8882633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RC COVID- 19 AND WASTEWATER EARLY WARNING SYSTEM 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624831" y="130874"/>
            <a:ext cx="826225" cy="26289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957632" y="573831"/>
            <a:ext cx="91268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EK 29 2021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xmlns="" id="{1AFBAFD6-9E1F-4A16-8A65-63415336277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1855" y="21122"/>
            <a:ext cx="5915025" cy="637838"/>
          </a:xfrm>
          <a:prstGeom prst="rect">
            <a:avLst/>
          </a:prstGeom>
        </p:spPr>
        <p:txBody>
          <a:bodyPr wrap="none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defTabSz="514350">
              <a:defRPr/>
            </a:pPr>
            <a:r>
              <a:rPr lang="en-ZA" sz="2100" dirty="0">
                <a:solidFill>
                  <a:srgbClr val="003399"/>
                </a:solidFill>
              </a:rPr>
              <a:t>Triangulating with wastewater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FC1B1CCE-F93C-49B4-A1D2-B1F32D41671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486405" y="106776"/>
            <a:ext cx="893826" cy="26289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2CB5B8DC-04DA-4400-A154-46A230D9B8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1"/>
          <a:stretch/>
        </p:blipFill>
        <p:spPr>
          <a:xfrm>
            <a:off x="8415580" y="38078"/>
            <a:ext cx="623941" cy="407927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3FA20291-EBA4-4D78-B5AB-1C8D9F756658}"/>
              </a:ext>
            </a:extLst>
          </p:cNvPr>
          <p:cNvSpPr txBox="1"/>
          <p:nvPr/>
        </p:nvSpPr>
        <p:spPr>
          <a:xfrm>
            <a:off x="49987" y="4974638"/>
            <a:ext cx="4464348" cy="138499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ro: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RS-CoV-2 &gt;2500 copies/ml (category 3 or higher) at 82% of treatment plants and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tegory 5 at 45% of plants (↓ from 68% in previous week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prstClr val="black"/>
              </a:solidFill>
              <a:latin typeface="Calibri" panose="020F0502020204030204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able increase from category 3 to 5 at Gordon’s Bay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805D4701-2B83-4E22-8C91-8108070E65D0}"/>
              </a:ext>
            </a:extLst>
          </p:cNvPr>
          <p:cNvSpPr txBox="1"/>
          <p:nvPr/>
        </p:nvSpPr>
        <p:spPr>
          <a:xfrm>
            <a:off x="4884849" y="5950423"/>
            <a:ext cx="39325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ewaterskloof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rivie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lliersdorp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US" sz="1400" b="1" dirty="0">
                <a:solidFill>
                  <a:prstClr val="black"/>
                </a:solidFill>
                <a:latin typeface="Calibri" panose="020F0502020204030204"/>
              </a:rPr>
              <a:t>remain i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ategory 5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↑ to category 2 at Caledon &amp; </a:t>
            </a:r>
            <a:r>
              <a:rPr lang="en-US" sz="1400" dirty="0" err="1">
                <a:solidFill>
                  <a:prstClr val="black"/>
                </a:solidFill>
                <a:latin typeface="Calibri" panose="020F0502020204030204"/>
              </a:rPr>
              <a:t>Grabouw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B563475D-02CA-46B1-94ED-A3B686EC275E}"/>
              </a:ext>
            </a:extLst>
          </p:cNvPr>
          <p:cNvSpPr txBox="1"/>
          <p:nvPr/>
        </p:nvSpPr>
        <p:spPr>
          <a:xfrm>
            <a:off x="4780892" y="3205060"/>
            <a:ext cx="436310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eede Valley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/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RS-CoV-2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↓ at all treatment plants except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uwsrive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Large ↓ in Rawsonville.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19B9D44-66AF-4B59-88DF-D2FF6BC3A78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/>
          <a:srcRect r="50000"/>
          <a:stretch/>
        </p:blipFill>
        <p:spPr>
          <a:xfrm>
            <a:off x="1832241" y="1302388"/>
            <a:ext cx="2711184" cy="381938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4D83588A-EFC5-4461-9DFB-D94539CF5B9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/>
          <a:srcRect l="49801"/>
          <a:stretch/>
        </p:blipFill>
        <p:spPr>
          <a:xfrm>
            <a:off x="59971" y="1313374"/>
            <a:ext cx="1772269" cy="2486794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EAD92165-C836-4FFE-8505-1AD141887EC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869449" y="3396795"/>
            <a:ext cx="912684" cy="127865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CB122FFA-A8B7-442F-8B35-A9A999A564AC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85785" y="1336608"/>
            <a:ext cx="4325123" cy="194327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E6E03775-9219-472B-8BD3-C87BA86297B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/>
          <a:srcRect b="13674"/>
          <a:stretch/>
        </p:blipFill>
        <p:spPr>
          <a:xfrm>
            <a:off x="4785785" y="4187014"/>
            <a:ext cx="3305357" cy="1763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908912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4AB6473-AF18-4483-BCB2-6083E07753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9018"/>
            <a:ext cx="5328592" cy="559256"/>
          </a:xfrm>
        </p:spPr>
        <p:txBody>
          <a:bodyPr/>
          <a:lstStyle/>
          <a:p>
            <a:r>
              <a:rPr lang="en-US" dirty="0"/>
              <a:t>Update on delta variant in W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EE75A5E-C574-4E7A-824D-E8F1D9F372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F353F478-2FD6-4495-A27D-B77689BE980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3528" y="1124744"/>
            <a:ext cx="8496944" cy="386281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latin typeface="Calibri" panose="020F0502020204030204" pitchFamily="34" charset="0"/>
                <a:cs typeface="Calibri" panose="020F0502020204030204" pitchFamily="34" charset="0"/>
              </a:rPr>
              <a:t>Delta remains overwhelmingly dominant variant in WC from mid-June onward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4596EF1-A9ED-4C4F-9341-4FBFDDBD230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2709831"/>
            <a:ext cx="9144000" cy="186233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F9AE60C-7963-444C-9DD7-44A7D1DE5279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543836" y="2014168"/>
            <a:ext cx="2438400" cy="7905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E3AFB5FA-1840-4A0B-9D05-6ED031778461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017" y="4719011"/>
            <a:ext cx="5563095" cy="339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926977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BB2699-2CDA-44A8-BE6E-DA302536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9592" y="2780928"/>
            <a:ext cx="7133875" cy="1080120"/>
          </a:xfrm>
        </p:spPr>
        <p:txBody>
          <a:bodyPr>
            <a:noAutofit/>
          </a:bodyPr>
          <a:lstStyle/>
          <a:p>
            <a:r>
              <a:rPr lang="en-ZA" b="1" dirty="0"/>
              <a:t>Expectations for the Third Wave</a:t>
            </a:r>
          </a:p>
        </p:txBody>
      </p:sp>
    </p:spTree>
    <p:extLst>
      <p:ext uri="{BB962C8B-B14F-4D97-AF65-F5344CB8AC3E}">
        <p14:creationId xmlns:p14="http://schemas.microsoft.com/office/powerpoint/2010/main" xmlns="" val="25755322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157DE7E-FAB3-4FB6-9F92-F3C382C1006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t="24419"/>
          <a:stretch/>
        </p:blipFill>
        <p:spPr>
          <a:xfrm>
            <a:off x="0" y="2204864"/>
            <a:ext cx="9144000" cy="394925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xmlns="" id="{C94D0616-2ACB-4FC0-8154-5FD41B773C96}"/>
              </a:ext>
            </a:extLst>
          </p:cNvPr>
          <p:cNvSpPr txBox="1">
            <a:spLocks/>
          </p:cNvSpPr>
          <p:nvPr/>
        </p:nvSpPr>
        <p:spPr>
          <a:xfrm>
            <a:off x="-12159" y="908720"/>
            <a:ext cx="5328592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SA COVID-19 Modelling consortium scenarios for new admission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200" b="0" dirty="0">
              <a:solidFill>
                <a:srgbClr val="00339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ange bars represent actual admissions (2</a:t>
            </a:r>
            <a:r>
              <a:rPr lang="en-US" sz="2000" b="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ave and current)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ue curves are model projections for different speed and strength of NPI respons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Third wave in WC could peak with similar or fewer admissions than 2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wav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cted timing of peak: mid-July to early Augus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2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j-ea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A8BA33E-E14E-47C1-874C-473F643E48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924675" y="5849030"/>
            <a:ext cx="2219325" cy="100897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A1C947CE-DE98-4E16-B946-126214E7574B}"/>
              </a:ext>
            </a:extLst>
          </p:cNvPr>
          <p:cNvSpPr/>
          <p:nvPr/>
        </p:nvSpPr>
        <p:spPr>
          <a:xfrm>
            <a:off x="6084168" y="3789040"/>
            <a:ext cx="2952328" cy="1656184"/>
          </a:xfrm>
          <a:prstGeom prst="rect">
            <a:avLst/>
          </a:prstGeom>
          <a:noFill/>
          <a:ln w="28575">
            <a:solidFill>
              <a:srgbClr val="B5121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1911806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1B344577-6250-4F6B-B96F-67EDD84F5285}"/>
              </a:ext>
            </a:extLst>
          </p:cNvPr>
          <p:cNvSpPr txBox="1">
            <a:spLocks/>
          </p:cNvSpPr>
          <p:nvPr/>
        </p:nvSpPr>
        <p:spPr>
          <a:xfrm>
            <a:off x="107504" y="332656"/>
            <a:ext cx="5328592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Short term predictions from SACMC – new cases</a:t>
            </a:r>
            <a:endParaRPr kumimoji="0" lang="en-GB" sz="22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j-ea"/>
              <a:cs typeface="+mj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B805CED-848C-46C9-96D3-C5D8110BD23A}"/>
              </a:ext>
            </a:extLst>
          </p:cNvPr>
          <p:cNvSpPr txBox="1"/>
          <p:nvPr/>
        </p:nvSpPr>
        <p:spPr>
          <a:xfrm>
            <a:off x="6300192" y="2204864"/>
            <a:ext cx="268341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ck line:</a:t>
            </a:r>
            <a:b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ious ca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y line:</a:t>
            </a:r>
            <a:b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ecast for this wee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t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ual ca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 line:</a:t>
            </a:r>
            <a:b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ion for next week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C83E8A2-6BDD-4EB7-B7A9-5C86AD7C27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732240" y="5733256"/>
            <a:ext cx="2219325" cy="100897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32F9FC8-A71D-430A-9A2A-E97891C8A438}"/>
              </a:ext>
            </a:extLst>
          </p:cNvPr>
          <p:cNvSpPr txBox="1"/>
          <p:nvPr/>
        </p:nvSpPr>
        <p:spPr>
          <a:xfrm>
            <a:off x="0" y="1357303"/>
            <a:ext cx="914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ecasting similar numbers of cases for the next wee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F7A1FDE-7A14-45E9-B80B-509D998FA74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2940"/>
          <a:stretch/>
        </p:blipFill>
        <p:spPr>
          <a:xfrm>
            <a:off x="467544" y="1908642"/>
            <a:ext cx="5176119" cy="3908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89278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1DD435-47C4-4DB3-8F52-9AA72C58F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verview 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DCCC681-7A68-4B33-9F04-9315DEDF21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3397" y="1268760"/>
            <a:ext cx="8597205" cy="4248472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ZA" sz="2000" b="0" dirty="0"/>
              <a:t>Surveillance &amp; Response Update</a:t>
            </a:r>
          </a:p>
          <a:p>
            <a:pPr marL="457200" indent="-457200">
              <a:buFont typeface="+mj-lt"/>
              <a:buAutoNum type="arabicPeriod"/>
            </a:pPr>
            <a:endParaRPr lang="en-ZA" sz="2000" b="0" dirty="0"/>
          </a:p>
          <a:p>
            <a:pPr marL="457200" indent="-457200">
              <a:buFont typeface="+mj-lt"/>
              <a:buAutoNum type="arabicPeriod"/>
            </a:pPr>
            <a:r>
              <a:rPr lang="en-ZA" sz="2000" b="0" dirty="0"/>
              <a:t>Expectations for the 3</a:t>
            </a:r>
            <a:r>
              <a:rPr lang="en-ZA" sz="2000" b="0" baseline="30000" dirty="0"/>
              <a:t>rd</a:t>
            </a:r>
            <a:r>
              <a:rPr lang="en-ZA" sz="2000" b="0" dirty="0"/>
              <a:t> wave</a:t>
            </a:r>
          </a:p>
          <a:p>
            <a:pPr marL="452438" indent="-452438">
              <a:buAutoNum type="arabicPeriod"/>
            </a:pPr>
            <a:endParaRPr lang="en-ZA" sz="2000" b="0" dirty="0"/>
          </a:p>
          <a:p>
            <a:pPr marL="452438" indent="-452438">
              <a:buAutoNum type="arabicPeriod"/>
            </a:pPr>
            <a:r>
              <a:rPr lang="en-ZA" sz="2000" b="0" dirty="0"/>
              <a:t>The triggered third wave response</a:t>
            </a:r>
          </a:p>
          <a:p>
            <a:pPr marL="452438" indent="-452438">
              <a:buAutoNum type="arabicPeriod"/>
            </a:pPr>
            <a:endParaRPr lang="en-ZA" sz="2000" b="0" dirty="0"/>
          </a:p>
          <a:p>
            <a:pPr marL="452438" indent="-452438">
              <a:buAutoNum type="arabicPeriod"/>
            </a:pPr>
            <a:r>
              <a:rPr lang="en-ZA" sz="2000" b="0" dirty="0"/>
              <a:t>Vaccine Implementation update</a:t>
            </a:r>
          </a:p>
          <a:p>
            <a:pPr marL="452438" indent="-452438">
              <a:buAutoNum type="arabicPeriod"/>
            </a:pPr>
            <a:endParaRPr lang="en-ZA" sz="2000" b="0" dirty="0"/>
          </a:p>
          <a:p>
            <a:pPr marL="452438" indent="-452438">
              <a:buAutoNum type="arabicPeriod"/>
            </a:pPr>
            <a:r>
              <a:rPr lang="en-ZA" sz="2000" b="0" dirty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xmlns="" val="349064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1B344577-6250-4F6B-B96F-67EDD84F5285}"/>
              </a:ext>
            </a:extLst>
          </p:cNvPr>
          <p:cNvSpPr txBox="1">
            <a:spLocks/>
          </p:cNvSpPr>
          <p:nvPr/>
        </p:nvSpPr>
        <p:spPr>
          <a:xfrm>
            <a:off x="177800" y="260648"/>
            <a:ext cx="5328592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Probability that provinces in 3</a:t>
            </a:r>
            <a:r>
              <a:rPr kumimoji="0" lang="en-US" sz="2400" b="1" i="0" u="none" strike="noStrike" kern="1200" cap="none" spc="0" normalizeH="0" baseline="3000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rd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 wave have passed peak 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by 17 July 2021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j-ea"/>
              <a:cs typeface="+mj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1EAE015-9294-4596-BD3E-A64C9191A5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6732240" y="5733256"/>
            <a:ext cx="2219325" cy="100897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1E153AF-DEBB-44E9-8919-9F28679DB299}"/>
              </a:ext>
            </a:extLst>
          </p:cNvPr>
          <p:cNvSpPr/>
          <p:nvPr/>
        </p:nvSpPr>
        <p:spPr>
          <a:xfrm>
            <a:off x="251520" y="5733256"/>
            <a:ext cx="504056" cy="4320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61B6C8B0-3118-44E1-940D-697597102200}"/>
              </a:ext>
            </a:extLst>
          </p:cNvPr>
          <p:cNvGrpSpPr/>
          <p:nvPr/>
        </p:nvGrpSpPr>
        <p:grpSpPr>
          <a:xfrm>
            <a:off x="251520" y="1324038"/>
            <a:ext cx="4914292" cy="4209923"/>
            <a:chOff x="3528392" y="2348879"/>
            <a:chExt cx="1979712" cy="203768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xmlns="" id="{52CDA7FB-91E1-4D53-85AA-DB6059F473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/>
            <a:srcRect l="61025" r="28738"/>
            <a:stretch/>
          </p:blipFill>
          <p:spPr>
            <a:xfrm>
              <a:off x="4572000" y="2348879"/>
              <a:ext cx="936104" cy="2037681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ECFFC627-4B37-45AB-ADD5-5EC4483A01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/>
            <a:srcRect r="88587"/>
            <a:stretch/>
          </p:blipFill>
          <p:spPr>
            <a:xfrm>
              <a:off x="3528392" y="2348880"/>
              <a:ext cx="1043608" cy="2037681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8AA1018B-D9A6-425D-9941-65E72E2F12BF}"/>
              </a:ext>
            </a:extLst>
          </p:cNvPr>
          <p:cNvSpPr txBox="1"/>
          <p:nvPr/>
        </p:nvSpPr>
        <p:spPr>
          <a:xfrm>
            <a:off x="5571113" y="2151725"/>
            <a:ext cx="3299445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dirty="0"/>
              <a:t>All provinces in 3</a:t>
            </a:r>
            <a:r>
              <a:rPr lang="en-ZA" sz="2000" baseline="30000" dirty="0"/>
              <a:t>rd</a:t>
            </a:r>
            <a:r>
              <a:rPr lang="en-ZA" sz="2000" dirty="0"/>
              <a:t> wave have &gt;50% probability of having passed peak </a:t>
            </a:r>
          </a:p>
          <a:p>
            <a:r>
              <a:rPr lang="en-ZA" sz="2000" dirty="0"/>
              <a:t/>
            </a:r>
            <a:br>
              <a:rPr lang="en-ZA" sz="2000" dirty="0"/>
            </a:br>
            <a:r>
              <a:rPr lang="en-ZA" sz="2000" dirty="0"/>
              <a:t>BUT uncertainty as civil unrest and related service disruptions may impact testing and data integrity, as well as transmission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B176199-D4DD-4E96-A2CF-158DF5E160C2}"/>
              </a:ext>
            </a:extLst>
          </p:cNvPr>
          <p:cNvSpPr/>
          <p:nvPr/>
        </p:nvSpPr>
        <p:spPr>
          <a:xfrm>
            <a:off x="395536" y="4725144"/>
            <a:ext cx="4824536" cy="559256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3112591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BB2699-2CDA-44A8-BE6E-DA302536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9592" y="2780928"/>
            <a:ext cx="7133875" cy="1080120"/>
          </a:xfrm>
        </p:spPr>
        <p:txBody>
          <a:bodyPr>
            <a:noAutofit/>
          </a:bodyPr>
          <a:lstStyle/>
          <a:p>
            <a:r>
              <a:rPr lang="en-ZA" b="1" dirty="0"/>
              <a:t>The triggered Third Wave Response</a:t>
            </a:r>
          </a:p>
        </p:txBody>
      </p:sp>
    </p:spTree>
    <p:extLst>
      <p:ext uri="{BB962C8B-B14F-4D97-AF65-F5344CB8AC3E}">
        <p14:creationId xmlns:p14="http://schemas.microsoft.com/office/powerpoint/2010/main" xmlns="" val="15215099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84E2102-9156-4FBF-9404-15C7900779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75" y="64627"/>
            <a:ext cx="8597205" cy="559256"/>
          </a:xfrm>
        </p:spPr>
        <p:txBody>
          <a:bodyPr/>
          <a:lstStyle/>
          <a:p>
            <a:r>
              <a:rPr lang="en-ZA" dirty="0"/>
              <a:t>Western Cape 3</a:t>
            </a:r>
            <a:r>
              <a:rPr lang="en-ZA" baseline="30000" dirty="0"/>
              <a:t>rd</a:t>
            </a:r>
            <a:r>
              <a:rPr lang="en-ZA" dirty="0"/>
              <a:t> wave adviso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F3EF330-BED5-41E1-8359-0553BFC4A3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533A2DB8-461B-4E02-86B8-476F131CCA34}"/>
              </a:ext>
            </a:extLst>
          </p:cNvPr>
          <p:cNvGraphicFramePr>
            <a:graphicFrameLocks noGrp="1"/>
          </p:cNvGraphicFramePr>
          <p:nvPr/>
        </p:nvGraphicFramePr>
        <p:xfrm>
          <a:off x="150612" y="1196752"/>
          <a:ext cx="8967979" cy="56072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57092">
                  <a:extLst>
                    <a:ext uri="{9D8B030D-6E8A-4147-A177-3AD203B41FA5}">
                      <a16:colId xmlns:a16="http://schemas.microsoft.com/office/drawing/2014/main" xmlns="" val="2344954350"/>
                    </a:ext>
                  </a:extLst>
                </a:gridCol>
                <a:gridCol w="7210887">
                  <a:extLst>
                    <a:ext uri="{9D8B030D-6E8A-4147-A177-3AD203B41FA5}">
                      <a16:colId xmlns:a16="http://schemas.microsoft.com/office/drawing/2014/main" xmlns="" val="1466059263"/>
                    </a:ext>
                  </a:extLst>
                </a:gridCol>
              </a:tblGrid>
              <a:tr h="32019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</a:pPr>
                      <a:r>
                        <a:rPr lang="en-ZA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icator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ZA" sz="2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ample of Resurgence Metric </a:t>
                      </a:r>
                      <a:endParaRPr lang="en-ZA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118370"/>
                  </a:ext>
                </a:extLst>
              </a:tr>
              <a:tr h="135149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ZA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rst warning:</a:t>
                      </a:r>
                      <a:br>
                        <a:rPr lang="en-ZA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ZA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↑ health service demand in 14-21d</a:t>
                      </a:r>
                      <a:endParaRPr lang="en-ZA" sz="16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720725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rge ↑ daily cases (increase for ≥ 1 week of ≥ 20%)</a:t>
                      </a:r>
                    </a:p>
                    <a:p>
                      <a:pPr marL="377825" lvl="0" indent="342900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verall test positivity &gt;7% for ≥1 week</a:t>
                      </a:r>
                    </a:p>
                    <a:p>
                      <a:pPr marL="720725" lvl="0" indent="0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15% of hospitals have &gt;10% of beds occupied by COVID-19 patients</a:t>
                      </a:r>
                    </a:p>
                    <a:p>
                      <a:pPr marL="720725" marR="0" lvl="0" indent="0" algn="l" defTabSz="914400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ZA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50% ↑ in pre-COVID-19 hospital O</a:t>
                      </a:r>
                      <a:r>
                        <a:rPr lang="en-ZA" sz="1600" b="1" baseline="-250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ZA" sz="1600" b="1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use</a:t>
                      </a:r>
                      <a:endParaRPr lang="en-ZA" sz="1600" b="1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18395860"/>
                  </a:ext>
                </a:extLst>
              </a:tr>
              <a:tr h="108012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ZA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cond warning: </a:t>
                      </a:r>
                      <a:br>
                        <a:rPr lang="en-ZA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ZA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↑ health service demand in 7-14d</a:t>
                      </a:r>
                      <a:endParaRPr lang="en-ZA" sz="160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720725" algn="l" defTabSz="914400" rtl="0" eaLnBrk="1" latinLnBrk="0" hangingPunct="1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Overall test positivity 10-15% for ≥1 week</a:t>
                      </a:r>
                    </a:p>
                    <a:p>
                      <a:pPr marL="720725" lvl="0" indent="0" algn="l" defTabSz="914400" rtl="0" eaLnBrk="1" latinLnBrk="0" hangingPunct="1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&gt;15% week-on-week increase in 7dma of current admissions</a:t>
                      </a:r>
                    </a:p>
                    <a:p>
                      <a:pPr marL="0" marR="0" lvl="0" indent="720725" algn="l" defTabSz="914400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&gt;40% of hospitals have &gt;10% of beds occupied by COVID-19 patients</a:t>
                      </a:r>
                    </a:p>
                    <a:p>
                      <a:pPr marL="0" marR="0" lvl="0" indent="720725" algn="l" defTabSz="914400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&gt;75% ↑ in pre-COVID-19 hospital O</a:t>
                      </a:r>
                      <a:r>
                        <a:rPr lang="en-ZA" sz="1600" b="1" kern="1200" baseline="-250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us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3085285"/>
                  </a:ext>
                </a:extLst>
              </a:tr>
              <a:tr h="11568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ird warning: </a:t>
                      </a:r>
                      <a:br>
                        <a:rPr lang="en-ZA" sz="16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ZA" sz="16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↑ health service demand in 2-7d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>
                        <a:lnSpc>
                          <a:spcPct val="115000"/>
                        </a:lnSpc>
                      </a:pP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720725" algn="l" defTabSz="914400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ZA" sz="16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&gt;20% week-on-week increase in 7dma of current admissions (</a:t>
                      </a:r>
                      <a:r>
                        <a:rPr lang="en-ZA" sz="1200" b="1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0.6%</a:t>
                      </a:r>
                      <a:r>
                        <a:rPr lang="en-ZA" sz="1200" b="1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1200" b="1" kern="1200" dirty="0"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↓ to 8.8%</a:t>
                      </a:r>
                      <a:r>
                        <a:rPr lang="en-ZA" sz="16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 marL="0" lvl="0" indent="720725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50% of hospitals have &gt;20% of beds occupied by COVID-19 patients (</a:t>
                      </a:r>
                      <a:r>
                        <a:rPr lang="en-ZA" sz="16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%</a:t>
                      </a: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 marL="0" lvl="0" indent="720725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50% of high care, intensive care &amp; HFNO</a:t>
                      </a:r>
                      <a:r>
                        <a:rPr lang="en-ZA" sz="1600" b="1" baseline="-25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OVID-19 beds occupied (</a:t>
                      </a:r>
                      <a:r>
                        <a:rPr lang="en-ZA" sz="16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1%</a:t>
                      </a: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  <a:p>
                      <a:pPr marL="0" lvl="0" indent="720725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100% ↑ in pre-COVID-19 hospital O</a:t>
                      </a:r>
                      <a:r>
                        <a:rPr lang="en-ZA" sz="1600" b="1" baseline="-25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use (</a:t>
                      </a:r>
                      <a:r>
                        <a:rPr lang="en-ZA" sz="1600" b="1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rrently at &gt;25T/day or &gt;100%</a:t>
                      </a: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45047162"/>
                  </a:ext>
                </a:extLst>
              </a:tr>
              <a:tr h="110289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ZA" sz="16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ealth service capacity threatened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720725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2800 current COVID-19 inpatients (currently at 3402 admissions)</a:t>
                      </a:r>
                    </a:p>
                    <a:p>
                      <a:pPr marL="457200" lvl="1" indent="720725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te: This is across both public and private sector.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lvl="0" indent="720725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80% of high care, intensive care &amp; HFNO</a:t>
                      </a:r>
                      <a:r>
                        <a:rPr lang="en-ZA" sz="1600" b="1" baseline="-25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OVID-19 beds occupied (101%)</a:t>
                      </a:r>
                    </a:p>
                    <a:p>
                      <a:pPr marL="0" lvl="0" indent="720725" algn="l">
                        <a:lnSpc>
                          <a:spcPct val="125000"/>
                        </a:lnSpc>
                        <a:spcAft>
                          <a:spcPts val="30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6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gt;200% ↑ in pre-COVID-19 hospital O</a:t>
                      </a:r>
                      <a:r>
                        <a:rPr lang="en-ZA" sz="1600" baseline="-250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ZA" sz="16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use (currently &lt;200%)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75336907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39E9FA03-6E5A-44DA-963A-E985BE201F1E}"/>
              </a:ext>
            </a:extLst>
          </p:cNvPr>
          <p:cNvSpPr txBox="1"/>
          <p:nvPr/>
        </p:nvSpPr>
        <p:spPr>
          <a:xfrm>
            <a:off x="25408" y="600659"/>
            <a:ext cx="8856984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inciple</a:t>
            </a: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: Transparent pre-defined triggers for whole of society response to reduce transmission and prepare health services. </a:t>
            </a:r>
            <a:r>
              <a:rPr kumimoji="0" lang="en-ZA" sz="1700" b="1" i="0" u="none" strike="noStrike" kern="1200" cap="none" spc="0" normalizeH="0" baseline="0" noProof="0" dirty="0">
                <a:ln>
                  <a:noFill/>
                </a:ln>
                <a:solidFill>
                  <a:srgbClr val="3377FF">
                    <a:lumMod val="1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te: Metrics in bold met</a:t>
            </a:r>
            <a:endParaRPr kumimoji="0" lang="en-ZA" sz="1700" b="1" i="0" u="none" strike="noStrike" kern="1200" cap="none" spc="0" normalizeH="0" baseline="0" noProof="0" dirty="0">
              <a:ln>
                <a:noFill/>
              </a:ln>
              <a:solidFill>
                <a:srgbClr val="3377FF">
                  <a:lumMod val="75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9" name="Graphic 8" descr="Inpatient with solid fill">
            <a:extLst>
              <a:ext uri="{FF2B5EF4-FFF2-40B4-BE49-F238E27FC236}">
                <a16:creationId xmlns:a16="http://schemas.microsoft.com/office/drawing/2014/main" xmlns="" id="{F21D13E7-7B6F-4C73-B2E3-3D8B69981C0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979713" y="1961758"/>
            <a:ext cx="527303" cy="527303"/>
          </a:xfrm>
          <a:prstGeom prst="rect">
            <a:avLst/>
          </a:prstGeom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xmlns="" id="{2DD3878D-C8BF-4658-ADE7-F8BA4A86B1D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  <a:ext uri="{837473B0-CC2E-450A-ABE3-18F120FF3D39}">
                <a1611:picAttrSrcUrl xmlns:a1611="http://schemas.microsoft.com/office/drawing/2016/11/main" xmlns="" r:id="rId5"/>
              </a:ext>
            </a:extLst>
          </a:blip>
          <a:stretch>
            <a:fillRect/>
          </a:stretch>
        </p:blipFill>
        <p:spPr>
          <a:xfrm>
            <a:off x="2108853" y="2460103"/>
            <a:ext cx="272189" cy="272189"/>
          </a:xfrm>
          <a:prstGeom prst="rect">
            <a:avLst/>
          </a:prstGeom>
        </p:spPr>
      </p:pic>
      <p:pic>
        <p:nvPicPr>
          <p:cNvPr id="15" name="Graphic 14" descr="Inpatient with solid fill">
            <a:extLst>
              <a:ext uri="{FF2B5EF4-FFF2-40B4-BE49-F238E27FC236}">
                <a16:creationId xmlns:a16="http://schemas.microsoft.com/office/drawing/2014/main" xmlns="" id="{0C08C44F-33F7-448F-AF67-038F2F7B0E1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979713" y="3279520"/>
            <a:ext cx="517963" cy="517963"/>
          </a:xfrm>
          <a:prstGeom prst="rect">
            <a:avLst/>
          </a:prstGeom>
        </p:spPr>
      </p:pic>
      <p:pic>
        <p:nvPicPr>
          <p:cNvPr id="16" name="Graphic 15" descr="Cough with solid fill">
            <a:extLst>
              <a:ext uri="{FF2B5EF4-FFF2-40B4-BE49-F238E27FC236}">
                <a16:creationId xmlns:a16="http://schemas.microsoft.com/office/drawing/2014/main" xmlns="" id="{F6507EDF-95DC-4FA3-9F76-AE722C87C3C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08853" y="2977355"/>
            <a:ext cx="305650" cy="305650"/>
          </a:xfrm>
          <a:prstGeom prst="rect">
            <a:avLst/>
          </a:prstGeom>
        </p:spPr>
      </p:pic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xmlns="" id="{2342EA63-E14D-400A-BAAE-BCBE4DF6BCA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  <a:ext uri="{837473B0-CC2E-450A-ABE3-18F120FF3D39}">
                <a1611:picAttrSrcUrl xmlns:a1611="http://schemas.microsoft.com/office/drawing/2016/11/main" xmlns="" r:id="rId5"/>
              </a:ext>
            </a:extLst>
          </a:blip>
          <a:stretch>
            <a:fillRect/>
          </a:stretch>
        </p:blipFill>
        <p:spPr>
          <a:xfrm>
            <a:off x="2142314" y="3807562"/>
            <a:ext cx="272189" cy="272189"/>
          </a:xfrm>
          <a:prstGeom prst="rect">
            <a:avLst/>
          </a:prstGeom>
        </p:spPr>
      </p:pic>
      <p:pic>
        <p:nvPicPr>
          <p:cNvPr id="18" name="Graphic 17" descr="Cough with solid fill">
            <a:extLst>
              <a:ext uri="{FF2B5EF4-FFF2-40B4-BE49-F238E27FC236}">
                <a16:creationId xmlns:a16="http://schemas.microsoft.com/office/drawing/2014/main" xmlns="" id="{246F05FF-AA4B-4003-B7EA-7553D5026D9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08853" y="1568166"/>
            <a:ext cx="305650" cy="305650"/>
          </a:xfrm>
          <a:prstGeom prst="rect">
            <a:avLst/>
          </a:prstGeom>
        </p:spPr>
      </p:pic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xmlns="" id="{48E2D575-FA82-4F93-9636-B7AB6866062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  <a:ext uri="{837473B0-CC2E-450A-ABE3-18F120FF3D39}">
                <a1611:picAttrSrcUrl xmlns:a1611="http://schemas.microsoft.com/office/drawing/2016/11/main" xmlns="" r:id="rId5"/>
              </a:ext>
            </a:extLst>
          </a:blip>
          <a:stretch>
            <a:fillRect/>
          </a:stretch>
        </p:blipFill>
        <p:spPr>
          <a:xfrm>
            <a:off x="2142314" y="5096760"/>
            <a:ext cx="272189" cy="272189"/>
          </a:xfrm>
          <a:prstGeom prst="rect">
            <a:avLst/>
          </a:prstGeom>
        </p:spPr>
      </p:pic>
      <p:pic>
        <p:nvPicPr>
          <p:cNvPr id="22" name="Graphic 21" descr="Inpatient with solid fill">
            <a:extLst>
              <a:ext uri="{FF2B5EF4-FFF2-40B4-BE49-F238E27FC236}">
                <a16:creationId xmlns:a16="http://schemas.microsoft.com/office/drawing/2014/main" xmlns="" id="{42B3CA57-9441-42AC-9BEA-1900B1FBEF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989053" y="5567733"/>
            <a:ext cx="517963" cy="517963"/>
          </a:xfrm>
          <a:prstGeom prst="rect">
            <a:avLst/>
          </a:prstGeom>
        </p:spPr>
      </p:pic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xmlns="" id="{338A9426-AA7D-4C9B-AF49-663597A7EC7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  <a:ext uri="{837473B0-CC2E-450A-ABE3-18F120FF3D39}">
                <a1611:picAttrSrcUrl xmlns:a1611="http://schemas.microsoft.com/office/drawing/2016/11/main" xmlns="" r:id="rId5"/>
              </a:ext>
            </a:extLst>
          </a:blip>
          <a:stretch>
            <a:fillRect/>
          </a:stretch>
        </p:blipFill>
        <p:spPr>
          <a:xfrm>
            <a:off x="2142314" y="6195503"/>
            <a:ext cx="272189" cy="272189"/>
          </a:xfrm>
          <a:prstGeom prst="rect">
            <a:avLst/>
          </a:prstGeom>
        </p:spPr>
      </p:pic>
      <p:pic>
        <p:nvPicPr>
          <p:cNvPr id="20" name="Graphic 19" descr="Inpatient with solid fill">
            <a:extLst>
              <a:ext uri="{FF2B5EF4-FFF2-40B4-BE49-F238E27FC236}">
                <a16:creationId xmlns:a16="http://schemas.microsoft.com/office/drawing/2014/main" xmlns="" id="{5DE00D34-CA26-4DAE-B830-B13E9F9BE08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979712" y="4395035"/>
            <a:ext cx="517963" cy="517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311782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AF52C8D-39A6-4AF1-9B99-8C72D5AB1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504" y="248415"/>
            <a:ext cx="8597205" cy="559256"/>
          </a:xfrm>
        </p:spPr>
        <p:txBody>
          <a:bodyPr/>
          <a:lstStyle/>
          <a:p>
            <a:r>
              <a:rPr lang="en-ZA" dirty="0"/>
              <a:t>3rd warning indicator </a:t>
            </a:r>
            <a:endParaRPr lang="en-ZA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0B7413D-DBB9-48E7-81A5-1D57FA2590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xmlns="" id="{0DE2BBC5-52EE-44C0-9F06-9886F93A23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90815781"/>
              </p:ext>
            </p:extLst>
          </p:nvPr>
        </p:nvGraphicFramePr>
        <p:xfrm>
          <a:off x="135780" y="874601"/>
          <a:ext cx="8928992" cy="584495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56184">
                  <a:extLst>
                    <a:ext uri="{9D8B030D-6E8A-4147-A177-3AD203B41FA5}">
                      <a16:colId xmlns:a16="http://schemas.microsoft.com/office/drawing/2014/main" xmlns="" val="4138409391"/>
                    </a:ext>
                  </a:extLst>
                </a:gridCol>
                <a:gridCol w="7272808">
                  <a:extLst>
                    <a:ext uri="{9D8B030D-6E8A-4147-A177-3AD203B41FA5}">
                      <a16:colId xmlns:a16="http://schemas.microsoft.com/office/drawing/2014/main" xmlns="" val="1089302037"/>
                    </a:ext>
                  </a:extLst>
                </a:gridCol>
              </a:tblGrid>
              <a:tr h="32784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ZA" sz="2000" b="1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Indicator</a:t>
                      </a:r>
                    </a:p>
                  </a:txBody>
                  <a:tcPr marL="64252" marR="642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ZA" sz="20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commended action</a:t>
                      </a:r>
                    </a:p>
                  </a:txBody>
                  <a:tcPr marL="64252" marR="642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56693088"/>
                  </a:ext>
                </a:extLst>
              </a:tr>
              <a:tr h="2282293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</a:pPr>
                      <a: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irst warning indicator.</a:t>
                      </a:r>
                      <a:b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↑  in health service demand in 14-21 days.</a:t>
                      </a:r>
                    </a:p>
                  </a:txBody>
                  <a:tcPr marL="64252" marR="642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534988" algn="l" defTabSz="914400" rtl="0" eaLnBrk="1" latinLnBrk="0" hangingPunct="1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rong public messaging about ↑ cases and need for stricter NPI adherence</a:t>
                      </a:r>
                    </a:p>
                    <a:p>
                      <a:pPr marL="0" lvl="0" indent="534988" algn="l" defTabSz="914400" rtl="0" eaLnBrk="1" latinLnBrk="0" hangingPunct="1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ublish ceilings of 2nd warning indicators with restriction expectations </a:t>
                      </a:r>
                    </a:p>
                    <a:p>
                      <a:pPr marL="0" lvl="0" indent="534988" algn="l" defTabSz="914400" rtl="0" eaLnBrk="1" latinLnBrk="0" hangingPunct="1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↑ testing capacity, contact tracing, isolation</a:t>
                      </a:r>
                    </a:p>
                    <a:p>
                      <a:pPr marL="0" lvl="0" indent="534988" algn="l" defTabSz="914400" rtl="0" eaLnBrk="1" latinLnBrk="0" hangingPunct="1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epare to mobilize resources for a substantial surge</a:t>
                      </a:r>
                    </a:p>
                    <a:p>
                      <a:pPr marL="0" lvl="0" indent="534988" algn="l" defTabSz="914400" rtl="0" eaLnBrk="1" latinLnBrk="0" hangingPunct="1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↑ vaccination</a:t>
                      </a:r>
                    </a:p>
                    <a:p>
                      <a:pPr marL="0" lvl="0" indent="534988" algn="l" defTabSz="914400" rtl="0" eaLnBrk="1" latinLnBrk="0" hangingPunct="1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argeted sequencing of virus</a:t>
                      </a:r>
                    </a:p>
                    <a:p>
                      <a:pPr marL="0" lvl="0" indent="534988" algn="l" defTabSz="914400" rtl="0" eaLnBrk="1" latinLnBrk="0" hangingPunct="1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highlight>
                            <a:srgbClr val="FFFF99"/>
                          </a:highlight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commend restrictions: gatherings, travel</a:t>
                      </a:r>
                    </a:p>
                  </a:txBody>
                  <a:tcPr marL="64252" marR="642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46191473"/>
                  </a:ext>
                </a:extLst>
              </a:tr>
              <a:tr h="167319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ZA" sz="16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econd warning indicator. </a:t>
                      </a:r>
                      <a:br>
                        <a:rPr lang="en-ZA" sz="16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ZA" sz="160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↑  in health service demand in 7-14 days.</a:t>
                      </a:r>
                    </a:p>
                  </a:txBody>
                  <a:tcPr marL="64252" marR="642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534988" algn="l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inue public messaging, vaccination, viral sequencing as above</a:t>
                      </a:r>
                    </a:p>
                    <a:p>
                      <a:pPr marL="0" lvl="0" indent="534988" algn="l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ublish ceilings of 3rd warning indicators with restriction expectations  </a:t>
                      </a:r>
                    </a:p>
                    <a:p>
                      <a:pPr marL="0" lvl="0" indent="534988" algn="l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imit testing not absolutely necessary</a:t>
                      </a:r>
                    </a:p>
                    <a:p>
                      <a:pPr marL="0" lvl="0" indent="534988" algn="l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1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obilize resources to support a substantial surge within 7 to 14 days</a:t>
                      </a:r>
                    </a:p>
                    <a:p>
                      <a:pPr marL="0" lvl="0" indent="534988" algn="l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commend further restrictions: gatherings, curfew</a:t>
                      </a:r>
                    </a:p>
                  </a:txBody>
                  <a:tcPr marL="64252" marR="642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23398473"/>
                  </a:ext>
                </a:extLst>
              </a:tr>
              <a:tr h="153894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r>
                        <a:rPr lang="en-ZA" sz="16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hird warning indicator. </a:t>
                      </a:r>
                      <a:br>
                        <a:rPr lang="en-ZA" sz="16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</a:br>
                      <a:r>
                        <a:rPr lang="en-ZA" sz="160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↑  in health service demand in 2-7 days.</a:t>
                      </a:r>
                    </a:p>
                  </a:txBody>
                  <a:tcPr marL="64252" marR="642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534988" algn="l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ntinue public messaging, vaccination, viral sequencing, testing limits as above</a:t>
                      </a:r>
                    </a:p>
                    <a:p>
                      <a:pPr marL="0" lvl="0" indent="534988" algn="l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1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ublish potential increase of restriction expectations if systems overwhelmed </a:t>
                      </a:r>
                    </a:p>
                    <a:p>
                      <a:pPr marL="0" lvl="0" indent="534988" algn="l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urther mobilize resources to support a substantial surge within 2-7 days</a:t>
                      </a:r>
                    </a:p>
                    <a:p>
                      <a:pPr marL="0" lvl="0" indent="534988" algn="l">
                        <a:lnSpc>
                          <a:spcPct val="125000"/>
                        </a:lnSpc>
                        <a:buFont typeface="Symbol" panose="05050102010706020507" pitchFamily="18" charset="2"/>
                        <a:buNone/>
                      </a:pPr>
                      <a:r>
                        <a:rPr lang="en-ZA" sz="1600" b="1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commend restrictions: gatherings, curfew, alcohol</a:t>
                      </a:r>
                    </a:p>
                  </a:txBody>
                  <a:tcPr marL="64252" marR="642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6493500"/>
                  </a:ext>
                </a:extLst>
              </a:tr>
            </a:tbl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8D074C9E-95DC-4130-8533-21DF15C7E3B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924169" y="1631911"/>
            <a:ext cx="330685" cy="29394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75819A2B-2710-48C5-9F14-C8DA93B16C7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19035" y="1963715"/>
            <a:ext cx="362529" cy="293942"/>
          </a:xfrm>
          <a:prstGeom prst="rect">
            <a:avLst/>
          </a:prstGeom>
        </p:spPr>
      </p:pic>
      <p:pic>
        <p:nvPicPr>
          <p:cNvPr id="15" name="Graphic 14" descr="Inpatient with solid fill">
            <a:extLst>
              <a:ext uri="{FF2B5EF4-FFF2-40B4-BE49-F238E27FC236}">
                <a16:creationId xmlns:a16="http://schemas.microsoft.com/office/drawing/2014/main" xmlns="" id="{1C00AEBE-B3B7-4D22-BD01-6497C6F29C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955651" y="2257657"/>
            <a:ext cx="325914" cy="34355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49D1EDF3-C660-49EE-91CE-CFB0C74A70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966821" y="2588552"/>
            <a:ext cx="288033" cy="28803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15285B65-6267-48BA-99EB-2A38CD6D612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966821" y="2923467"/>
            <a:ext cx="288032" cy="28803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69D61880-CEC8-4B49-B517-42C457E55F9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44136" y="3273575"/>
            <a:ext cx="305630" cy="23209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6127D723-3BE6-45A5-AA94-EB07CFDF0F7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919034" y="1350510"/>
            <a:ext cx="362530" cy="243539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A3EEFD8A-1ED5-485F-B007-3B8EC52E3AF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919034" y="3633373"/>
            <a:ext cx="362530" cy="24353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1EA5F9AF-76F7-4756-A1E6-C4925133E3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919034" y="3925132"/>
            <a:ext cx="330685" cy="29394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C2AEC0D5-9726-43EC-B32F-4DA49075DC8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7893128" y="3633373"/>
            <a:ext cx="288033" cy="28803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AE4A8B31-B0D3-4F76-AEF9-9C949409C8A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8234064" y="3633374"/>
            <a:ext cx="288032" cy="28803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2623BDB8-F067-4522-B2EA-3E315D63EB1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15686" y="4250068"/>
            <a:ext cx="362529" cy="293942"/>
          </a:xfrm>
          <a:prstGeom prst="rect">
            <a:avLst/>
          </a:prstGeom>
        </p:spPr>
      </p:pic>
      <p:pic>
        <p:nvPicPr>
          <p:cNvPr id="29" name="Graphic 28" descr="Inpatient with solid fill">
            <a:extLst>
              <a:ext uri="{FF2B5EF4-FFF2-40B4-BE49-F238E27FC236}">
                <a16:creationId xmlns:a16="http://schemas.microsoft.com/office/drawing/2014/main" xmlns="" id="{74685C1B-8D85-4B0F-9EE2-0121181DE83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922489" y="4531383"/>
            <a:ext cx="325914" cy="34355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0C6C520F-B9E4-4CCD-8921-31247A41042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22489" y="4891414"/>
            <a:ext cx="305630" cy="23209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A424D12B-F641-4778-B1F5-E12DB9AAD4B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923755" y="5301455"/>
            <a:ext cx="362530" cy="24353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CFC6FCF8-1736-4AC9-A588-20822B059D1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923755" y="5593214"/>
            <a:ext cx="330685" cy="293942"/>
          </a:xfrm>
          <a:prstGeom prst="rect">
            <a:avLst/>
          </a:prstGeom>
        </p:spPr>
      </p:pic>
      <p:pic>
        <p:nvPicPr>
          <p:cNvPr id="34" name="Graphic 33" descr="Inpatient with solid fill">
            <a:extLst>
              <a:ext uri="{FF2B5EF4-FFF2-40B4-BE49-F238E27FC236}">
                <a16:creationId xmlns:a16="http://schemas.microsoft.com/office/drawing/2014/main" xmlns="" id="{09B469CC-6567-45E2-8911-454B8F04934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922489" y="5867518"/>
            <a:ext cx="325914" cy="34355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82CC4768-801F-42C0-97EA-B30932CE4946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922489" y="6227549"/>
            <a:ext cx="305630" cy="232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430298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CE0BCB89-60D9-4F4F-963F-6F31306B54F4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379971" y="4157908"/>
            <a:ext cx="3535206" cy="244709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E376415-9DC8-496F-8F72-1AFF82EA784D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37148" y="4151631"/>
            <a:ext cx="3544274" cy="24533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66A44435-81E7-488B-AEBB-5491B842C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306" y="222042"/>
            <a:ext cx="8405283" cy="411956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/>
          <a:p>
            <a:pPr defTabSz="914400"/>
            <a:r>
              <a:rPr lang="en-ZA" sz="2400" b="1" dirty="0">
                <a:solidFill>
                  <a:schemeClr val="tx2"/>
                </a:solidFill>
                <a:latin typeface="Century Gothic" pitchFamily="34" charset="0"/>
              </a:rPr>
              <a:t>Google mobility data </a:t>
            </a:r>
            <a:br>
              <a:rPr lang="en-ZA" sz="2400" b="1" dirty="0">
                <a:solidFill>
                  <a:schemeClr val="tx2"/>
                </a:solidFill>
                <a:latin typeface="Century Gothic" pitchFamily="34" charset="0"/>
              </a:rPr>
            </a:br>
            <a:r>
              <a:rPr lang="en-ZA" sz="2400" b="1" dirty="0">
                <a:solidFill>
                  <a:schemeClr val="tx2"/>
                </a:solidFill>
                <a:latin typeface="Century Gothic" pitchFamily="34" charset="0"/>
              </a:rPr>
              <a:t>– percentage change in mobility in relation to restriction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xmlns="" id="{6B11D0BD-E5E2-4D7D-B27A-DB0DD48889C2}"/>
              </a:ext>
            </a:extLst>
          </p:cNvPr>
          <p:cNvCxnSpPr/>
          <p:nvPr/>
        </p:nvCxnSpPr>
        <p:spPr>
          <a:xfrm>
            <a:off x="5178630" y="6110326"/>
            <a:ext cx="0" cy="360040"/>
          </a:xfrm>
          <a:prstGeom prst="straightConnector1">
            <a:avLst/>
          </a:prstGeom>
          <a:ln w="28575">
            <a:solidFill>
              <a:srgbClr val="00B05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6D450A7F-3D91-46CD-B18E-CC17F4CD1F01}"/>
              </a:ext>
            </a:extLst>
          </p:cNvPr>
          <p:cNvCxnSpPr>
            <a:cxnSpLocks/>
          </p:cNvCxnSpPr>
          <p:nvPr/>
        </p:nvCxnSpPr>
        <p:spPr>
          <a:xfrm flipV="1">
            <a:off x="8650292" y="4026658"/>
            <a:ext cx="0" cy="360040"/>
          </a:xfrm>
          <a:prstGeom prst="straightConnector1">
            <a:avLst/>
          </a:prstGeom>
          <a:ln w="28575">
            <a:solidFill>
              <a:srgbClr val="00B05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F983DC3-55AB-4B67-8B31-3D570E8AD376}"/>
              </a:ext>
            </a:extLst>
          </p:cNvPr>
          <p:cNvSpPr txBox="1"/>
          <p:nvPr/>
        </p:nvSpPr>
        <p:spPr>
          <a:xfrm>
            <a:off x="15213" y="801542"/>
            <a:ext cx="90886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w clear evidence of  change in mobility patterns in response to L4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act of civil disruption in KZN in last week on mobility patterns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451DA97B-83A7-4821-945E-3B0454B6213B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8511" y="2636912"/>
            <a:ext cx="1583361" cy="26417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87F9BBB-CC1C-42E8-80BE-382BC9B82787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835696" y="1476491"/>
            <a:ext cx="3544274" cy="24565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B31782D-29B9-4FAB-82FC-5D2B590A716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379970" y="1479682"/>
            <a:ext cx="3544274" cy="2453374"/>
          </a:xfrm>
          <a:prstGeom prst="rect">
            <a:avLst/>
          </a:prstGeom>
        </p:spPr>
      </p:pic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xmlns="" id="{DBCEC6BE-1FDB-4A7C-A9FF-DEE9D58D61C4}"/>
              </a:ext>
            </a:extLst>
          </p:cNvPr>
          <p:cNvCxnSpPr>
            <a:cxnSpLocks/>
          </p:cNvCxnSpPr>
          <p:nvPr/>
        </p:nvCxnSpPr>
        <p:spPr>
          <a:xfrm>
            <a:off x="8671385" y="3501008"/>
            <a:ext cx="0" cy="360040"/>
          </a:xfrm>
          <a:prstGeom prst="straightConnector1">
            <a:avLst/>
          </a:prstGeom>
          <a:ln w="28575">
            <a:solidFill>
              <a:srgbClr val="00B05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xmlns="" id="{EAADBE35-55A3-4115-80A1-DE1366209C57}"/>
              </a:ext>
            </a:extLst>
          </p:cNvPr>
          <p:cNvCxnSpPr>
            <a:cxnSpLocks/>
          </p:cNvCxnSpPr>
          <p:nvPr/>
        </p:nvCxnSpPr>
        <p:spPr>
          <a:xfrm>
            <a:off x="5142122" y="3444861"/>
            <a:ext cx="0" cy="360040"/>
          </a:xfrm>
          <a:prstGeom prst="straightConnector1">
            <a:avLst/>
          </a:prstGeom>
          <a:ln w="28575">
            <a:solidFill>
              <a:srgbClr val="00B050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20038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iagram&#10;&#10;Description automatically generated">
            <a:extLst>
              <a:ext uri="{FF2B5EF4-FFF2-40B4-BE49-F238E27FC236}">
                <a16:creationId xmlns:a16="http://schemas.microsoft.com/office/drawing/2014/main" xmlns="" id="{9820D777-8B19-4F7D-ACEB-4FF95A45E1E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079080" y="5139283"/>
            <a:ext cx="5860004" cy="1320289"/>
          </a:xfrm>
          <a:prstGeom prst="rect">
            <a:avLst/>
          </a:prstGeom>
        </p:spPr>
      </p:pic>
      <p:pic>
        <p:nvPicPr>
          <p:cNvPr id="13" name="Picture 12" descr="Diagram&#10;&#10;Description automatically generated">
            <a:extLst>
              <a:ext uri="{FF2B5EF4-FFF2-40B4-BE49-F238E27FC236}">
                <a16:creationId xmlns:a16="http://schemas.microsoft.com/office/drawing/2014/main" xmlns="" id="{6D288A74-6F43-4974-910E-DC0D1D3410F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245705" y="1761617"/>
            <a:ext cx="5706010" cy="132028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6918796-2918-40D6-BE3A-4600C47FCD4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651752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Content Placeholder 4" descr="Diagram&#10;&#10;Description automatically generated">
            <a:extLst>
              <a:ext uri="{FF2B5EF4-FFF2-40B4-BE49-F238E27FC236}">
                <a16:creationId xmlns:a16="http://schemas.microsoft.com/office/drawing/2014/main" xmlns="" id="{8D51BCA6-0557-42B5-A83A-EC17D5BE21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076661" y="196513"/>
            <a:ext cx="1942393" cy="1767139"/>
          </a:xfrm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xmlns="" id="{849348DB-9BFA-4A13-B18E-000AE433156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86405" y="1525317"/>
            <a:ext cx="2436746" cy="211184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CBC7BDD6-E31C-4EDD-9AC7-893F7B697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396" y="658042"/>
            <a:ext cx="7886700" cy="715556"/>
          </a:xfrm>
        </p:spPr>
        <p:txBody>
          <a:bodyPr>
            <a:norm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In the midst of the Mitigation Paradig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FAA79B8-FFF2-48BF-A4B9-533D0C62011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alphaModFix amt="35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 flipH="1">
            <a:off x="2473940" y="1639138"/>
            <a:ext cx="5099746" cy="5099746"/>
          </a:xfrm>
          <a:prstGeom prst="rect">
            <a:avLst/>
          </a:prstGeom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xmlns="" id="{388967A3-8511-4F41-B07D-CECB21A4B9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261932" y="2904874"/>
            <a:ext cx="1736035" cy="1627931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7B608DEF-1FE0-4414-BF79-FD603511DE0A}"/>
              </a:ext>
            </a:extLst>
          </p:cNvPr>
          <p:cNvCxnSpPr>
            <a:cxnSpLocks/>
          </p:cNvCxnSpPr>
          <p:nvPr/>
        </p:nvCxnSpPr>
        <p:spPr>
          <a:xfrm>
            <a:off x="2623151" y="3068654"/>
            <a:ext cx="2374816" cy="0"/>
          </a:xfrm>
          <a:prstGeom prst="straightConnector1">
            <a:avLst/>
          </a:prstGeom>
          <a:ln w="76200">
            <a:solidFill>
              <a:srgbClr val="FFFF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Diagram&#10;&#10;Description automatically generated">
            <a:extLst>
              <a:ext uri="{FF2B5EF4-FFF2-40B4-BE49-F238E27FC236}">
                <a16:creationId xmlns:a16="http://schemas.microsoft.com/office/drawing/2014/main" xmlns="" id="{957CA750-DEEF-49D0-BEAD-5D1A0BA95E4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146242" y="3624537"/>
            <a:ext cx="1627143" cy="1576095"/>
          </a:xfrm>
          <a:prstGeom prst="rect">
            <a:avLst/>
          </a:prstGeom>
        </p:spPr>
      </p:pic>
      <p:pic>
        <p:nvPicPr>
          <p:cNvPr id="16" name="Picture 15" descr="Diagram&#10;&#10;Description automatically generated">
            <a:extLst>
              <a:ext uri="{FF2B5EF4-FFF2-40B4-BE49-F238E27FC236}">
                <a16:creationId xmlns:a16="http://schemas.microsoft.com/office/drawing/2014/main" xmlns="" id="{A1D83397-EC5E-4820-BD82-5B7B0A1497E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08865" y="4740857"/>
            <a:ext cx="2314286" cy="2117143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xmlns="" id="{3CE0BB9A-4153-4CEE-A453-15BE58B2E28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91711" y="2848926"/>
            <a:ext cx="2391429" cy="212571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C4D19448-96A4-4F87-AB50-4C27CE466F1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alphaModFix amt="35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b="26798"/>
          <a:stretch/>
        </p:blipFill>
        <p:spPr>
          <a:xfrm>
            <a:off x="1878023" y="3957389"/>
            <a:ext cx="943377" cy="69056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880EEDBD-FDC5-40B1-9A24-DD373C13E753}"/>
              </a:ext>
            </a:extLst>
          </p:cNvPr>
          <p:cNvSpPr txBox="1"/>
          <p:nvPr/>
        </p:nvSpPr>
        <p:spPr>
          <a:xfrm>
            <a:off x="1934880" y="2874550"/>
            <a:ext cx="32918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gger Points for titrating respons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DEE2474-9AE6-4262-B2E2-DDA61AE9060F}"/>
              </a:ext>
            </a:extLst>
          </p:cNvPr>
          <p:cNvSpPr txBox="1"/>
          <p:nvPr/>
        </p:nvSpPr>
        <p:spPr>
          <a:xfrm>
            <a:off x="2305878" y="1794398"/>
            <a:ext cx="46332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ty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t this point, becomes even more important as individual risk increases.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will inevitably translate into how the wave progresses and whether we, as a collective, can flatten the height of it.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B942E8C0-D074-47F1-B1AA-722BD9BC4A48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7381462" y="2585488"/>
            <a:ext cx="1643269" cy="216300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6F248C52-8A79-4BD2-A798-F6495DACFBED}"/>
              </a:ext>
            </a:extLst>
          </p:cNvPr>
          <p:cNvSpPr txBox="1"/>
          <p:nvPr/>
        </p:nvSpPr>
        <p:spPr>
          <a:xfrm>
            <a:off x="2623151" y="5524753"/>
            <a:ext cx="42654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uring the wave 3 period we will be asking of our staff to manage increasing COVID-19 cases and a Phase 2 vaccin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ver and above their normal clinical duties. This additional burden will stretch our staff.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xmlns="" id="{F508FBA1-2744-40D6-8105-029029C624D0}"/>
              </a:ext>
            </a:extLst>
          </p:cNvPr>
          <p:cNvCxnSpPr>
            <a:cxnSpLocks/>
          </p:cNvCxnSpPr>
          <p:nvPr/>
        </p:nvCxnSpPr>
        <p:spPr>
          <a:xfrm flipV="1">
            <a:off x="1742360" y="2874411"/>
            <a:ext cx="27235" cy="613301"/>
          </a:xfrm>
          <a:prstGeom prst="straightConnector1">
            <a:avLst/>
          </a:prstGeom>
          <a:ln w="76200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xmlns="" id="{6678FBCE-C5EB-471E-8CA1-C49F17A24B12}"/>
              </a:ext>
            </a:extLst>
          </p:cNvPr>
          <p:cNvCxnSpPr>
            <a:cxnSpLocks/>
          </p:cNvCxnSpPr>
          <p:nvPr/>
        </p:nvCxnSpPr>
        <p:spPr>
          <a:xfrm>
            <a:off x="1510445" y="2907543"/>
            <a:ext cx="27235" cy="613301"/>
          </a:xfrm>
          <a:prstGeom prst="straightConnector1">
            <a:avLst/>
          </a:prstGeom>
          <a:ln w="76200">
            <a:solidFill>
              <a:schemeClr val="accent5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EC4B07A8-744F-4F46-92F9-EC5486EE4487}"/>
              </a:ext>
            </a:extLst>
          </p:cNvPr>
          <p:cNvSpPr txBox="1"/>
          <p:nvPr/>
        </p:nvSpPr>
        <p:spPr>
          <a:xfrm>
            <a:off x="16021" y="3345259"/>
            <a:ext cx="130190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break response shifts focus to protecting high risk COVID-19 patien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9362681B-2475-4D71-96FF-12343B63D18B}"/>
              </a:ext>
            </a:extLst>
          </p:cNvPr>
          <p:cNvSpPr txBox="1"/>
          <p:nvPr/>
        </p:nvSpPr>
        <p:spPr>
          <a:xfrm>
            <a:off x="7190017" y="4806501"/>
            <a:ext cx="189188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ote: Trigger Points are actively monitored in order to titrate the response to the COVID-19 wave and achieve balance for COVID-19 and comprehensive service capacity.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7795296B-9286-4499-AAC1-70FF68E427FB}"/>
              </a:ext>
            </a:extLst>
          </p:cNvPr>
          <p:cNvSpPr/>
          <p:nvPr/>
        </p:nvSpPr>
        <p:spPr>
          <a:xfrm>
            <a:off x="7314326" y="2585489"/>
            <a:ext cx="1643269" cy="2163007"/>
          </a:xfrm>
          <a:prstGeom prst="rect">
            <a:avLst/>
          </a:prstGeom>
          <a:solidFill>
            <a:srgbClr val="C00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96D20C95-2EA6-4602-8F8A-5EEE941B8C4B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779166" y="3879936"/>
            <a:ext cx="998853" cy="93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4288060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3AA8C4-6A30-48A6-B70D-427579409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40" y="188640"/>
            <a:ext cx="8597205" cy="559256"/>
          </a:xfrm>
        </p:spPr>
        <p:txBody>
          <a:bodyPr/>
          <a:lstStyle/>
          <a:p>
            <a:r>
              <a:rPr lang="en-ZA" sz="2400" dirty="0"/>
              <a:t>Acute service platform – scaling up COVID capacity</a:t>
            </a: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6E1B28F-9785-427C-B7B9-593D31B858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512" y="961901"/>
            <a:ext cx="8784976" cy="5688632"/>
          </a:xfrm>
        </p:spPr>
        <p:txBody>
          <a:bodyPr>
            <a:noAutofit/>
          </a:bodyPr>
          <a:lstStyle/>
          <a:p>
            <a:pPr marL="37693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dirty="0">
                <a:latin typeface="+mn-lt"/>
              </a:rPr>
              <a:t>De-escalation of non-COVID services </a:t>
            </a:r>
            <a:r>
              <a:rPr lang="en-ZA" sz="1600" b="0" dirty="0">
                <a:latin typeface="+mn-lt"/>
              </a:rPr>
              <a:t>– in both PHC and hospitals, to maintain only essential care.</a:t>
            </a: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dirty="0">
                <a:latin typeface="+mn-lt"/>
              </a:rPr>
              <a:t>Acute Hospitals </a:t>
            </a:r>
            <a:r>
              <a:rPr lang="en-ZA" sz="1600" b="0" dirty="0">
                <a:latin typeface="+mn-lt"/>
              </a:rPr>
              <a:t>– progressive demarcation of PUI, COVID ward and COVID critical care capacity, to a full planned capacity of 2 300 Public Sector COVID beds (inclusive of a proportion of the field hospital capacity). </a:t>
            </a:r>
            <a:endParaRPr lang="en-ZA" sz="1600" dirty="0">
              <a:latin typeface="+mn-lt"/>
            </a:endParaRP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dirty="0">
                <a:latin typeface="+mn-lt"/>
              </a:rPr>
              <a:t>Field Hospital capacity – </a:t>
            </a:r>
            <a:r>
              <a:rPr lang="en-ZA" sz="1600" b="0" dirty="0">
                <a:latin typeface="+mn-lt"/>
              </a:rPr>
              <a:t>stepwise full commissioning of field hospital capacity in Brackengate (336 beds), Mitchells Plain Hospital of Hope (200 beds), Freesia &amp; Ward 99 (75 beds), WCRC (26 beds), </a:t>
            </a:r>
            <a:r>
              <a:rPr lang="en-ZA" sz="1600" b="0" dirty="0" err="1">
                <a:latin typeface="+mn-lt"/>
              </a:rPr>
              <a:t>Sonstraal</a:t>
            </a:r>
            <a:r>
              <a:rPr lang="en-ZA" sz="1600" b="0" dirty="0">
                <a:latin typeface="+mn-lt"/>
              </a:rPr>
              <a:t> Hospital (68 beds) and at rural hospitals. </a:t>
            </a: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dirty="0">
                <a:latin typeface="+mn-lt"/>
              </a:rPr>
              <a:t>Co-ordinated platform response – </a:t>
            </a:r>
            <a:r>
              <a:rPr lang="en-ZA" sz="1600" b="0" dirty="0">
                <a:latin typeface="+mn-lt"/>
              </a:rPr>
              <a:t>co-ordinated movement of patients from ECs to acute and critical care beds to field hospital beds, and streamlined discharges.</a:t>
            </a: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dirty="0">
                <a:latin typeface="+mn-lt"/>
              </a:rPr>
              <a:t>Staffing – </a:t>
            </a:r>
            <a:r>
              <a:rPr lang="en-ZA" sz="1600" b="0" dirty="0">
                <a:latin typeface="+mn-lt"/>
              </a:rPr>
              <a:t>additional staff employed and retained from the 2</a:t>
            </a:r>
            <a:r>
              <a:rPr lang="en-ZA" sz="1600" b="0" baseline="30000" dirty="0">
                <a:latin typeface="+mn-lt"/>
              </a:rPr>
              <a:t>nd</a:t>
            </a:r>
            <a:r>
              <a:rPr lang="en-ZA" sz="1600" b="0" dirty="0">
                <a:latin typeface="+mn-lt"/>
              </a:rPr>
              <a:t> wave, with flexible deployment.  </a:t>
            </a: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dirty="0"/>
              <a:t>Oxygen capacity </a:t>
            </a:r>
            <a:r>
              <a:rPr lang="en-ZA" sz="1600" b="0" dirty="0"/>
              <a:t>– daily huddles for co-ordinated of uninterrupted oxygen supply and distribution, in line with oxygen utilisation needs. </a:t>
            </a: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endParaRPr lang="en-ZA" sz="1400" b="0" dirty="0">
              <a:latin typeface="+mn-lt"/>
            </a:endParaRPr>
          </a:p>
          <a:p>
            <a:pPr marL="10715" algn="just">
              <a:lnSpc>
                <a:spcPct val="150000"/>
              </a:lnSpc>
            </a:pPr>
            <a:r>
              <a:rPr lang="en-ZA" sz="1800" dirty="0">
                <a:latin typeface="+mn-lt"/>
              </a:rPr>
              <a:t> </a:t>
            </a:r>
          </a:p>
          <a:p>
            <a:pPr marL="342921" indent="-332206" algn="just">
              <a:buFont typeface="+mj-lt"/>
              <a:buAutoNum type="arabicPeriod" startAt="2"/>
            </a:pPr>
            <a:endParaRPr lang="en-ZA" sz="1800" b="0" dirty="0">
              <a:latin typeface="+mn-lt"/>
            </a:endParaRPr>
          </a:p>
          <a:p>
            <a:pPr marL="342921" indent="-332206">
              <a:buFont typeface="+mj-lt"/>
              <a:buAutoNum type="arabicPeriod" startAt="2"/>
            </a:pPr>
            <a:endParaRPr lang="en-ZA" sz="1800" b="0" dirty="0"/>
          </a:p>
          <a:p>
            <a:pPr marL="342921" indent="-332206">
              <a:buFont typeface="+mj-lt"/>
              <a:buAutoNum type="arabicPeriod" startAt="2"/>
            </a:pPr>
            <a:endParaRPr lang="en-ZA" sz="1600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82150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3AA8C4-6A30-48A6-B70D-427579409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40" y="188640"/>
            <a:ext cx="8597205" cy="559256"/>
          </a:xfrm>
        </p:spPr>
        <p:txBody>
          <a:bodyPr/>
          <a:lstStyle/>
          <a:p>
            <a:r>
              <a:rPr lang="en-ZA" sz="2400" dirty="0"/>
              <a:t>Acute service platform – current picture</a:t>
            </a: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6E1B28F-9785-427C-B7B9-593D31B858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512" y="961901"/>
            <a:ext cx="8784976" cy="5688632"/>
          </a:xfrm>
        </p:spPr>
        <p:txBody>
          <a:bodyPr>
            <a:noAutofit/>
          </a:bodyPr>
          <a:lstStyle/>
          <a:p>
            <a:pPr marL="37693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400" b="0" dirty="0">
                <a:latin typeface="+mn-lt"/>
              </a:rPr>
              <a:t>Currently</a:t>
            </a:r>
            <a:r>
              <a:rPr lang="en-ZA" sz="1400" dirty="0">
                <a:latin typeface="+mn-lt"/>
              </a:rPr>
              <a:t> 3 010 COVID patients </a:t>
            </a:r>
            <a:r>
              <a:rPr lang="en-ZA" sz="1400" b="0" dirty="0">
                <a:latin typeface="+mn-lt"/>
              </a:rPr>
              <a:t>in our acute hospitals (</a:t>
            </a:r>
            <a:r>
              <a:rPr lang="en-ZA" sz="1400" dirty="0">
                <a:latin typeface="+mn-lt"/>
              </a:rPr>
              <a:t>1 517</a:t>
            </a:r>
            <a:r>
              <a:rPr lang="en-ZA" sz="1400" b="0" dirty="0">
                <a:latin typeface="+mn-lt"/>
              </a:rPr>
              <a:t> in </a:t>
            </a:r>
            <a:r>
              <a:rPr lang="en-ZA" sz="1400" dirty="0">
                <a:latin typeface="+mn-lt"/>
              </a:rPr>
              <a:t>public </a:t>
            </a:r>
            <a:r>
              <a:rPr lang="en-ZA" sz="1400" b="0" dirty="0">
                <a:latin typeface="+mn-lt"/>
              </a:rPr>
              <a:t>hospitals &amp; </a:t>
            </a:r>
            <a:r>
              <a:rPr lang="en-ZA" sz="1400" dirty="0">
                <a:latin typeface="+mn-lt"/>
              </a:rPr>
              <a:t>1 493) </a:t>
            </a:r>
            <a:r>
              <a:rPr lang="en-ZA" sz="1400" b="0" dirty="0">
                <a:latin typeface="+mn-lt"/>
              </a:rPr>
              <a:t>in </a:t>
            </a:r>
            <a:r>
              <a:rPr lang="en-ZA" sz="1400" dirty="0">
                <a:latin typeface="+mn-lt"/>
              </a:rPr>
              <a:t>private</a:t>
            </a:r>
            <a:r>
              <a:rPr lang="en-ZA" sz="1400" b="0" dirty="0">
                <a:latin typeface="+mn-lt"/>
              </a:rPr>
              <a:t> hospitals). This </a:t>
            </a:r>
            <a:r>
              <a:rPr lang="en-ZA" sz="1400" dirty="0">
                <a:latin typeface="+mn-lt"/>
              </a:rPr>
              <a:t>excludes PUIs </a:t>
            </a:r>
            <a:r>
              <a:rPr lang="en-ZA" sz="1400" b="0" dirty="0">
                <a:latin typeface="+mn-lt"/>
              </a:rPr>
              <a:t>and </a:t>
            </a:r>
            <a:r>
              <a:rPr lang="en-ZA" sz="1400" dirty="0">
                <a:latin typeface="+mn-lt"/>
              </a:rPr>
              <a:t>cases in specialised hospital </a:t>
            </a:r>
            <a:r>
              <a:rPr lang="en-ZA" sz="1400" b="0" dirty="0">
                <a:latin typeface="+mn-lt"/>
              </a:rPr>
              <a:t>settings.</a:t>
            </a:r>
          </a:p>
          <a:p>
            <a:pPr marL="376933" indent="-367407" algn="just">
              <a:lnSpc>
                <a:spcPct val="150000"/>
              </a:lnSpc>
              <a:buFont typeface="+mj-lt"/>
              <a:buAutoNum type="arabicPeriod"/>
            </a:pPr>
            <a:endParaRPr lang="en-ZA" sz="1400" b="0" dirty="0">
              <a:latin typeface="+mn-lt"/>
            </a:endParaRP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400" b="0" dirty="0">
                <a:latin typeface="+mn-lt"/>
              </a:rPr>
              <a:t>The </a:t>
            </a:r>
            <a:r>
              <a:rPr lang="en-ZA" sz="1400" dirty="0">
                <a:latin typeface="+mn-lt"/>
              </a:rPr>
              <a:t>Metro hospitals </a:t>
            </a:r>
            <a:r>
              <a:rPr lang="en-ZA" sz="1400" b="0" dirty="0">
                <a:latin typeface="+mn-lt"/>
              </a:rPr>
              <a:t>have an average </a:t>
            </a:r>
            <a:r>
              <a:rPr lang="en-ZA" sz="1400" dirty="0">
                <a:latin typeface="+mn-lt"/>
              </a:rPr>
              <a:t>occupancy rate </a:t>
            </a:r>
            <a:r>
              <a:rPr lang="en-ZA" sz="1400" b="0" dirty="0">
                <a:latin typeface="+mn-lt"/>
              </a:rPr>
              <a:t>of</a:t>
            </a:r>
            <a:r>
              <a:rPr lang="en-ZA" sz="1400" dirty="0">
                <a:latin typeface="+mn-lt"/>
              </a:rPr>
              <a:t> 91%; George </a:t>
            </a:r>
            <a:r>
              <a:rPr lang="en-ZA" sz="1400" b="0" dirty="0">
                <a:latin typeface="+mn-lt"/>
              </a:rPr>
              <a:t>drainage area hospitals at</a:t>
            </a:r>
            <a:r>
              <a:rPr lang="en-ZA" sz="1400" dirty="0">
                <a:latin typeface="+mn-lt"/>
              </a:rPr>
              <a:t> 70%; Paarl </a:t>
            </a:r>
            <a:r>
              <a:rPr lang="en-ZA" sz="1400" b="0" dirty="0">
                <a:latin typeface="+mn-lt"/>
              </a:rPr>
              <a:t>drainage area hospitals at </a:t>
            </a:r>
            <a:r>
              <a:rPr lang="en-ZA" sz="1400" dirty="0">
                <a:latin typeface="+mn-lt"/>
              </a:rPr>
              <a:t>78% </a:t>
            </a:r>
            <a:r>
              <a:rPr lang="en-ZA" sz="1400" b="0" dirty="0">
                <a:latin typeface="+mn-lt"/>
              </a:rPr>
              <a:t>&amp; </a:t>
            </a:r>
            <a:r>
              <a:rPr lang="en-ZA" sz="1400" dirty="0">
                <a:latin typeface="+mn-lt"/>
              </a:rPr>
              <a:t>Worcester </a:t>
            </a:r>
            <a:r>
              <a:rPr lang="en-ZA" sz="1400" b="0" dirty="0">
                <a:latin typeface="+mn-lt"/>
              </a:rPr>
              <a:t>drainage area hospitals at </a:t>
            </a:r>
            <a:r>
              <a:rPr lang="en-ZA" sz="1400" dirty="0">
                <a:latin typeface="+mn-lt"/>
              </a:rPr>
              <a:t>68%. </a:t>
            </a: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endParaRPr lang="en-ZA" sz="1400" dirty="0">
              <a:latin typeface="+mn-lt"/>
            </a:endParaRP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400" dirty="0">
                <a:latin typeface="+mn-lt"/>
              </a:rPr>
              <a:t>COVID &amp; PUI cases</a:t>
            </a:r>
            <a:r>
              <a:rPr lang="en-ZA" sz="1400" b="0" dirty="0">
                <a:latin typeface="+mn-lt"/>
              </a:rPr>
              <a:t> currently</a:t>
            </a:r>
            <a:r>
              <a:rPr lang="en-ZA" sz="1400" dirty="0">
                <a:latin typeface="+mn-lt"/>
              </a:rPr>
              <a:t> </a:t>
            </a:r>
            <a:r>
              <a:rPr lang="en-ZA" sz="1400" b="0" dirty="0">
                <a:latin typeface="+mn-lt"/>
              </a:rPr>
              <a:t>make up </a:t>
            </a:r>
            <a:r>
              <a:rPr lang="en-ZA" sz="1400" dirty="0">
                <a:latin typeface="+mn-lt"/>
              </a:rPr>
              <a:t>24% </a:t>
            </a:r>
            <a:r>
              <a:rPr lang="en-ZA" sz="1400" b="0" dirty="0">
                <a:latin typeface="+mn-lt"/>
              </a:rPr>
              <a:t>of all available acute general hospital capacity in both Metro and Rural Regional Hospital drainage areas. </a:t>
            </a: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endParaRPr lang="en-ZA" sz="1400" b="0" dirty="0">
              <a:latin typeface="+mn-lt"/>
            </a:endParaRP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400" dirty="0">
                <a:latin typeface="+mn-lt"/>
              </a:rPr>
              <a:t>COVID inter-mediate care </a:t>
            </a:r>
            <a:r>
              <a:rPr lang="en-ZA" sz="1400" b="0" dirty="0">
                <a:latin typeface="+mn-lt"/>
              </a:rPr>
              <a:t>– the </a:t>
            </a:r>
            <a:r>
              <a:rPr lang="en-ZA" sz="1400" dirty="0">
                <a:latin typeface="+mn-lt"/>
              </a:rPr>
              <a:t>Brackengate Hospital of Hope </a:t>
            </a:r>
            <a:r>
              <a:rPr lang="en-ZA" sz="1400" b="0" dirty="0">
                <a:latin typeface="+mn-lt"/>
              </a:rPr>
              <a:t>currently has </a:t>
            </a:r>
            <a:r>
              <a:rPr lang="en-ZA" sz="1400" dirty="0">
                <a:latin typeface="+mn-lt"/>
              </a:rPr>
              <a:t>253 </a:t>
            </a:r>
            <a:r>
              <a:rPr lang="en-ZA" sz="1400" b="0" dirty="0">
                <a:latin typeface="+mn-lt"/>
              </a:rPr>
              <a:t>patients </a:t>
            </a:r>
            <a:r>
              <a:rPr lang="en-ZA" sz="1400" dirty="0">
                <a:latin typeface="+mn-lt"/>
              </a:rPr>
              <a:t>(4 441 </a:t>
            </a:r>
            <a:r>
              <a:rPr lang="en-ZA" sz="1400" b="0" dirty="0">
                <a:latin typeface="+mn-lt"/>
              </a:rPr>
              <a:t>cumulative patients), </a:t>
            </a:r>
            <a:r>
              <a:rPr lang="en-ZA" sz="1400" dirty="0">
                <a:latin typeface="+mn-lt"/>
              </a:rPr>
              <a:t>Freesia &amp; Ward 99 </a:t>
            </a:r>
            <a:r>
              <a:rPr lang="en-ZA" sz="1400" b="0" dirty="0">
                <a:latin typeface="+mn-lt"/>
              </a:rPr>
              <a:t>have </a:t>
            </a:r>
            <a:r>
              <a:rPr lang="en-ZA" sz="1400" dirty="0">
                <a:latin typeface="+mn-lt"/>
              </a:rPr>
              <a:t>0  patients</a:t>
            </a:r>
            <a:r>
              <a:rPr lang="en-ZA" sz="1400" b="0" dirty="0">
                <a:latin typeface="+mn-lt"/>
              </a:rPr>
              <a:t>, </a:t>
            </a:r>
            <a:r>
              <a:rPr lang="en-ZA" sz="1400" dirty="0">
                <a:latin typeface="+mn-lt"/>
              </a:rPr>
              <a:t>Mitchell Plain Hospital of Hope </a:t>
            </a:r>
            <a:r>
              <a:rPr lang="en-ZA" sz="1400" b="0" dirty="0">
                <a:latin typeface="+mn-lt"/>
              </a:rPr>
              <a:t>has </a:t>
            </a:r>
            <a:r>
              <a:rPr lang="en-ZA" sz="1400" dirty="0">
                <a:latin typeface="+mn-lt"/>
              </a:rPr>
              <a:t>40 patients (an additional ward had been opened) </a:t>
            </a:r>
            <a:r>
              <a:rPr lang="en-ZA" sz="1400" b="0" dirty="0">
                <a:latin typeface="+mn-lt"/>
              </a:rPr>
              <a:t>and </a:t>
            </a:r>
            <a:r>
              <a:rPr lang="en-ZA" sz="1400" dirty="0" err="1">
                <a:latin typeface="+mn-lt"/>
              </a:rPr>
              <a:t>Sonstraal</a:t>
            </a:r>
            <a:r>
              <a:rPr lang="en-ZA" sz="1400" dirty="0">
                <a:latin typeface="+mn-lt"/>
              </a:rPr>
              <a:t> </a:t>
            </a:r>
            <a:r>
              <a:rPr lang="en-ZA" sz="1400" b="0" dirty="0">
                <a:latin typeface="+mn-lt"/>
              </a:rPr>
              <a:t>currently has </a:t>
            </a:r>
            <a:r>
              <a:rPr lang="en-ZA" sz="1400" dirty="0">
                <a:latin typeface="+mn-lt"/>
              </a:rPr>
              <a:t>59</a:t>
            </a:r>
            <a:r>
              <a:rPr lang="en-ZA" sz="1400" b="0" dirty="0">
                <a:latin typeface="+mn-lt"/>
              </a:rPr>
              <a:t> </a:t>
            </a:r>
            <a:r>
              <a:rPr lang="en-ZA" sz="1400" dirty="0">
                <a:latin typeface="+mn-lt"/>
              </a:rPr>
              <a:t>patients.</a:t>
            </a:r>
            <a:r>
              <a:rPr lang="en-ZA" sz="1400" b="0" dirty="0">
                <a:latin typeface="+mn-lt"/>
              </a:rPr>
              <a:t>  </a:t>
            </a: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endParaRPr lang="en-ZA" sz="1400" b="0" dirty="0">
              <a:latin typeface="+mn-lt"/>
            </a:endParaRP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r>
              <a:rPr lang="en-ZA" sz="1400" b="0" dirty="0"/>
              <a:t>The Metro </a:t>
            </a:r>
            <a:r>
              <a:rPr lang="en-ZA" sz="1400" dirty="0"/>
              <a:t>mass</a:t>
            </a:r>
            <a:r>
              <a:rPr lang="en-ZA" sz="1400" b="0" dirty="0"/>
              <a:t> </a:t>
            </a:r>
            <a:r>
              <a:rPr lang="en-ZA" sz="1400" dirty="0"/>
              <a:t>fatality centre </a:t>
            </a:r>
            <a:r>
              <a:rPr lang="en-ZA" sz="1400" b="0" dirty="0"/>
              <a:t>has capacity for </a:t>
            </a:r>
            <a:r>
              <a:rPr lang="en-ZA" sz="1400" dirty="0"/>
              <a:t>240 bodies; </a:t>
            </a:r>
            <a:r>
              <a:rPr lang="en-ZA" sz="1400" b="0" dirty="0"/>
              <a:t>currently</a:t>
            </a:r>
            <a:r>
              <a:rPr lang="en-ZA" sz="1400" dirty="0"/>
              <a:t> 36 decedents (cumulative total of 1 635 bodies) </a:t>
            </a:r>
            <a:r>
              <a:rPr lang="en-ZA" sz="1400" b="0" dirty="0"/>
              <a:t>admitted. The overall capacity has been successfully managed across the province. </a:t>
            </a:r>
          </a:p>
          <a:p>
            <a:pPr marL="378123" indent="-367407" algn="just">
              <a:lnSpc>
                <a:spcPct val="150000"/>
              </a:lnSpc>
              <a:buFont typeface="+mj-lt"/>
              <a:buAutoNum type="arabicPeriod"/>
            </a:pPr>
            <a:endParaRPr lang="en-ZA" sz="1400" b="0" dirty="0">
              <a:latin typeface="+mn-lt"/>
            </a:endParaRPr>
          </a:p>
          <a:p>
            <a:pPr marL="10715" algn="just">
              <a:lnSpc>
                <a:spcPct val="150000"/>
              </a:lnSpc>
            </a:pPr>
            <a:r>
              <a:rPr lang="en-ZA" sz="1800" dirty="0">
                <a:latin typeface="+mn-lt"/>
              </a:rPr>
              <a:t> </a:t>
            </a:r>
          </a:p>
          <a:p>
            <a:pPr marL="342921" indent="-332206" algn="just">
              <a:buFont typeface="+mj-lt"/>
              <a:buAutoNum type="arabicPeriod" startAt="2"/>
            </a:pPr>
            <a:endParaRPr lang="en-ZA" sz="1800" b="0" dirty="0">
              <a:latin typeface="+mn-lt"/>
            </a:endParaRPr>
          </a:p>
          <a:p>
            <a:pPr marL="342921" indent="-332206">
              <a:buFont typeface="+mj-lt"/>
              <a:buAutoNum type="arabicPeriod" startAt="2"/>
            </a:pPr>
            <a:endParaRPr lang="en-ZA" sz="1800" b="0" dirty="0"/>
          </a:p>
          <a:p>
            <a:pPr marL="342921" indent="-332206">
              <a:buFont typeface="+mj-lt"/>
              <a:buAutoNum type="arabicPeriod" startAt="2"/>
            </a:pPr>
            <a:endParaRPr lang="en-ZA" sz="1600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29246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4000DA90-6AC0-4FB2-B140-5796FC5D8CDF}"/>
              </a:ext>
            </a:extLst>
          </p:cNvPr>
          <p:cNvSpPr txBox="1">
            <a:spLocks/>
          </p:cNvSpPr>
          <p:nvPr/>
        </p:nvSpPr>
        <p:spPr>
          <a:xfrm>
            <a:off x="387135" y="254645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b">
            <a:noAutofit/>
          </a:bodyPr>
          <a:lstStyle>
            <a:lvl1pPr algn="ctr" defTabSz="685814" rtl="0" eaLnBrk="1" latinLnBrk="0" hangingPunct="1">
              <a:spcBef>
                <a:spcPct val="0"/>
              </a:spcBef>
              <a:buNone/>
              <a:defRPr sz="45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68581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urrent Public Sector Acute Bed Utilisation per </a:t>
            </a:r>
          </a:p>
          <a:p>
            <a:pPr marL="0" marR="0" lvl="0" indent="0" algn="l" defTabSz="68581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Drainage Area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j-ea"/>
              <a:cs typeface="+mj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CD9F81B9-1BFE-4922-849B-77450D79E127}"/>
              </a:ext>
            </a:extLst>
          </p:cNvPr>
          <p:cNvSpPr txBox="1"/>
          <p:nvPr/>
        </p:nvSpPr>
        <p:spPr>
          <a:xfrm>
            <a:off x="-108520" y="5736322"/>
            <a:ext cx="8758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Operational Bed = an inpatient bed available for inpatient use that is staffed and equipped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F07A34CA-BB2D-4540-AA87-8B0801F401EB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34797" y="1484784"/>
            <a:ext cx="7874405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902107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09E4D-5765-4AD5-B4BF-C2481B1C3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OVID-19 Bed Capacity (Public Sector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0F951A0-924A-4A47-8614-60F4F4ACD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675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ZA" sz="675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7103A0D-24D6-4E04-AA0E-64AC848F4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6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75E176B8-7799-4D82-93C6-B6C92D163832}"/>
              </a:ext>
            </a:extLst>
          </p:cNvPr>
          <p:cNvGraphicFramePr/>
          <p:nvPr/>
        </p:nvGraphicFramePr>
        <p:xfrm>
          <a:off x="295276" y="1054360"/>
          <a:ext cx="8671442" cy="52811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2E7ED572-5616-4A5A-8EDF-9917BE6DDC58}"/>
              </a:ext>
            </a:extLst>
          </p:cNvPr>
          <p:cNvPicPr/>
          <p:nvPr/>
        </p:nvPicPr>
        <p:blipFill rotWithShape="1">
          <a:blip r:embed="rId7" cstate="print">
            <a:alphaModFix amt="2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3552"/>
          <a:stretch/>
        </p:blipFill>
        <p:spPr bwMode="auto">
          <a:xfrm>
            <a:off x="7485477" y="5430416"/>
            <a:ext cx="1785205" cy="142758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xmlns="" val="431902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BB2699-2CDA-44A8-BE6E-DA302536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560" y="2348880"/>
            <a:ext cx="8281291" cy="1440160"/>
          </a:xfrm>
        </p:spPr>
        <p:txBody>
          <a:bodyPr>
            <a:noAutofit/>
          </a:bodyPr>
          <a:lstStyle/>
          <a:p>
            <a:r>
              <a:rPr lang="en-ZA" b="1" dirty="0"/>
              <a:t>Surveillance &amp; Response Update</a:t>
            </a:r>
          </a:p>
        </p:txBody>
      </p:sp>
    </p:spTree>
    <p:extLst>
      <p:ext uri="{BB962C8B-B14F-4D97-AF65-F5344CB8AC3E}">
        <p14:creationId xmlns:p14="http://schemas.microsoft.com/office/powerpoint/2010/main" xmlns="" val="33927986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09E4D-5765-4AD5-B4BF-C2481B1C3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Oxygen Delivery Capacity (Public Sector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0F951A0-924A-4A47-8614-60F4F4ACD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675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ZA" sz="675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7103A0D-24D6-4E04-AA0E-64AC848F4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6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75E176B8-7799-4D82-93C6-B6C92D163832}"/>
              </a:ext>
            </a:extLst>
          </p:cNvPr>
          <p:cNvGraphicFramePr/>
          <p:nvPr/>
        </p:nvGraphicFramePr>
        <p:xfrm>
          <a:off x="295276" y="1054360"/>
          <a:ext cx="8671442" cy="52811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4802804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3AA8C4-6A30-48A6-B70D-427579409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39" y="188640"/>
            <a:ext cx="8597205" cy="559256"/>
          </a:xfrm>
        </p:spPr>
        <p:txBody>
          <a:bodyPr/>
          <a:lstStyle/>
          <a:p>
            <a:r>
              <a:rPr lang="en-ZA" sz="2400" dirty="0"/>
              <a:t>Oxygen utilisation – general comments</a:t>
            </a: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6E1B28F-9785-427C-B7B9-593D31B858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405" y="991617"/>
            <a:ext cx="8453190" cy="5688632"/>
          </a:xfrm>
        </p:spPr>
        <p:txBody>
          <a:bodyPr>
            <a:noAutofit/>
          </a:bodyPr>
          <a:lstStyle/>
          <a:p>
            <a:pPr marL="376925" indent="-367400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b="0" dirty="0">
                <a:latin typeface="+mn-lt"/>
              </a:rPr>
              <a:t>The </a:t>
            </a:r>
            <a:r>
              <a:rPr lang="en-ZA" sz="1600" dirty="0">
                <a:latin typeface="+mn-lt"/>
              </a:rPr>
              <a:t>combined public-private </a:t>
            </a:r>
            <a:r>
              <a:rPr lang="en-ZA" sz="1600" b="0" dirty="0">
                <a:latin typeface="+mn-lt"/>
              </a:rPr>
              <a:t>utilisation is now </a:t>
            </a:r>
            <a:r>
              <a:rPr lang="en-ZA" sz="1600" dirty="0">
                <a:latin typeface="+mn-lt"/>
              </a:rPr>
              <a:t>63.43</a:t>
            </a:r>
            <a:r>
              <a:rPr lang="en-ZA" sz="1600" b="0" dirty="0">
                <a:latin typeface="+mn-lt"/>
              </a:rPr>
              <a:t> </a:t>
            </a:r>
            <a:r>
              <a:rPr lang="en-ZA" sz="1600" dirty="0">
                <a:latin typeface="+mn-lt"/>
              </a:rPr>
              <a:t>tons/day or 90.6 % of the maximal production capacity</a:t>
            </a:r>
            <a:r>
              <a:rPr lang="en-ZA" sz="1600" b="0" dirty="0">
                <a:latin typeface="+mn-lt"/>
              </a:rPr>
              <a:t> (</a:t>
            </a:r>
            <a:r>
              <a:rPr lang="en-ZA" sz="1600" dirty="0">
                <a:latin typeface="+mn-lt"/>
              </a:rPr>
              <a:t>70 tons/day) </a:t>
            </a:r>
            <a:r>
              <a:rPr lang="en-ZA" sz="1600" b="0" dirty="0">
                <a:latin typeface="+mn-lt"/>
              </a:rPr>
              <a:t>at the Afrox Western Cape plant. </a:t>
            </a:r>
          </a:p>
          <a:p>
            <a:pPr marL="376925" indent="-367400" algn="just">
              <a:lnSpc>
                <a:spcPct val="150000"/>
              </a:lnSpc>
              <a:buFont typeface="+mj-lt"/>
              <a:buAutoNum type="arabicPeriod"/>
            </a:pPr>
            <a:endParaRPr lang="en-ZA" sz="1600" b="0" dirty="0">
              <a:latin typeface="+mn-lt"/>
            </a:endParaRPr>
          </a:p>
          <a:p>
            <a:pPr marL="376925" indent="-367400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b="0" dirty="0">
                <a:latin typeface="+mn-lt"/>
              </a:rPr>
              <a:t>The </a:t>
            </a:r>
            <a:r>
              <a:rPr lang="en-ZA" sz="1600" dirty="0">
                <a:latin typeface="+mn-lt"/>
              </a:rPr>
              <a:t>public sector total average bulk oxygen </a:t>
            </a:r>
            <a:r>
              <a:rPr lang="en-ZA" sz="1600" b="0" dirty="0">
                <a:latin typeface="+mn-lt"/>
              </a:rPr>
              <a:t>consumption is </a:t>
            </a:r>
            <a:r>
              <a:rPr lang="en-ZA" sz="1600" dirty="0">
                <a:latin typeface="+mn-lt"/>
              </a:rPr>
              <a:t>33.95</a:t>
            </a:r>
            <a:r>
              <a:rPr lang="en-ZA" sz="1600" b="0" dirty="0">
                <a:latin typeface="+mn-lt"/>
              </a:rPr>
              <a:t> </a:t>
            </a:r>
            <a:r>
              <a:rPr lang="en-ZA" sz="1600" dirty="0">
                <a:latin typeface="+mn-lt"/>
              </a:rPr>
              <a:t>tons/day. This equates to around 48.95 % of the daily bulk consumption </a:t>
            </a:r>
            <a:r>
              <a:rPr lang="en-ZA" sz="1600" b="0" dirty="0">
                <a:latin typeface="+mn-lt"/>
              </a:rPr>
              <a:t>of the Afrox WC plant</a:t>
            </a:r>
            <a:r>
              <a:rPr lang="en-ZA" sz="1600" dirty="0">
                <a:latin typeface="+mn-lt"/>
              </a:rPr>
              <a:t> </a:t>
            </a:r>
            <a:r>
              <a:rPr lang="en-ZA" sz="1600" b="0" dirty="0">
                <a:latin typeface="+mn-lt"/>
              </a:rPr>
              <a:t>for the 7-day period </a:t>
            </a:r>
            <a:r>
              <a:rPr lang="en-ZA" sz="1600" dirty="0">
                <a:latin typeface="+mn-lt"/>
              </a:rPr>
              <a:t>ending 16 July 2021</a:t>
            </a:r>
            <a:r>
              <a:rPr lang="en-ZA" sz="1600" b="0" dirty="0">
                <a:latin typeface="+mn-lt"/>
              </a:rPr>
              <a:t>. This is compared to </a:t>
            </a:r>
            <a:r>
              <a:rPr lang="en-ZA" sz="1600" dirty="0">
                <a:latin typeface="+mn-lt"/>
              </a:rPr>
              <a:t>51 tons/day </a:t>
            </a:r>
            <a:r>
              <a:rPr lang="en-ZA" sz="1600" b="0" dirty="0">
                <a:latin typeface="+mn-lt"/>
              </a:rPr>
              <a:t>in the first week of January.</a:t>
            </a:r>
          </a:p>
          <a:p>
            <a:pPr marL="376925" indent="-367400" algn="just">
              <a:lnSpc>
                <a:spcPct val="150000"/>
              </a:lnSpc>
              <a:buFont typeface="+mj-lt"/>
              <a:buAutoNum type="arabicPeriod"/>
            </a:pPr>
            <a:endParaRPr lang="en-ZA" sz="1600" b="0" dirty="0">
              <a:latin typeface="+mn-lt"/>
            </a:endParaRPr>
          </a:p>
          <a:p>
            <a:pPr marL="376925" indent="-367400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b="0" dirty="0">
                <a:latin typeface="+mn-lt"/>
              </a:rPr>
              <a:t>Both </a:t>
            </a:r>
            <a:r>
              <a:rPr lang="en-ZA" sz="1600" dirty="0">
                <a:latin typeface="+mn-lt"/>
              </a:rPr>
              <a:t>public and private sectors </a:t>
            </a:r>
            <a:r>
              <a:rPr lang="en-ZA" sz="1600" b="0" dirty="0">
                <a:latin typeface="+mn-lt"/>
              </a:rPr>
              <a:t>are </a:t>
            </a:r>
            <a:r>
              <a:rPr lang="en-ZA" sz="1600" dirty="0">
                <a:latin typeface="+mn-lt"/>
              </a:rPr>
              <a:t>addressing some of the capacity challenges </a:t>
            </a:r>
            <a:r>
              <a:rPr lang="en-ZA" sz="1600" b="0" dirty="0">
                <a:latin typeface="+mn-lt"/>
              </a:rPr>
              <a:t>at facility level, as identified during the 2</a:t>
            </a:r>
            <a:r>
              <a:rPr lang="en-ZA" sz="1600" b="0" baseline="30000" dirty="0">
                <a:latin typeface="+mn-lt"/>
              </a:rPr>
              <a:t>nd</a:t>
            </a:r>
            <a:r>
              <a:rPr lang="en-ZA" sz="1600" b="0" dirty="0">
                <a:latin typeface="+mn-lt"/>
              </a:rPr>
              <a:t> wave, in preparation for the 3</a:t>
            </a:r>
            <a:r>
              <a:rPr lang="en-ZA" sz="1600" b="0" baseline="30000" dirty="0">
                <a:latin typeface="+mn-lt"/>
              </a:rPr>
              <a:t>rd</a:t>
            </a:r>
            <a:r>
              <a:rPr lang="en-ZA" sz="1600" b="0" dirty="0">
                <a:latin typeface="+mn-lt"/>
              </a:rPr>
              <a:t> wave.</a:t>
            </a:r>
          </a:p>
          <a:p>
            <a:pPr marL="376925" indent="-367400" algn="just">
              <a:lnSpc>
                <a:spcPct val="150000"/>
              </a:lnSpc>
              <a:buFont typeface="+mj-lt"/>
              <a:buAutoNum type="arabicPeriod"/>
            </a:pPr>
            <a:endParaRPr lang="en-ZA" sz="1600" b="0" dirty="0">
              <a:latin typeface="+mn-lt"/>
            </a:endParaRPr>
          </a:p>
          <a:p>
            <a:pPr marL="376925" indent="-367400" algn="just">
              <a:lnSpc>
                <a:spcPct val="150000"/>
              </a:lnSpc>
              <a:buFont typeface="+mj-lt"/>
              <a:buAutoNum type="arabicPeriod"/>
            </a:pPr>
            <a:r>
              <a:rPr lang="en-ZA" sz="1600" b="0" dirty="0">
                <a:latin typeface="+mn-lt"/>
              </a:rPr>
              <a:t>We will </a:t>
            </a:r>
            <a:r>
              <a:rPr lang="en-ZA" sz="1600" dirty="0">
                <a:latin typeface="+mn-lt"/>
              </a:rPr>
              <a:t>continue to monitor the utilisation of oxygen </a:t>
            </a:r>
            <a:r>
              <a:rPr lang="en-ZA" sz="1600" b="0" dirty="0">
                <a:latin typeface="+mn-lt"/>
              </a:rPr>
              <a:t>over the coming weeks and have </a:t>
            </a:r>
            <a:r>
              <a:rPr lang="en-ZA" sz="1600" dirty="0">
                <a:latin typeface="+mn-lt"/>
              </a:rPr>
              <a:t>started the regular oxygen huddles with Afrox </a:t>
            </a:r>
            <a:r>
              <a:rPr lang="en-ZA" sz="1600" b="0" dirty="0">
                <a:latin typeface="+mn-lt"/>
              </a:rPr>
              <a:t>to be </a:t>
            </a:r>
            <a:r>
              <a:rPr lang="en-ZA" sz="1600" dirty="0">
                <a:latin typeface="+mn-lt"/>
              </a:rPr>
              <a:t>able to scale up the provision as required </a:t>
            </a:r>
            <a:r>
              <a:rPr lang="en-ZA" sz="1600" b="0" dirty="0">
                <a:latin typeface="+mn-lt"/>
              </a:rPr>
              <a:t>for a </a:t>
            </a:r>
            <a:r>
              <a:rPr lang="en-ZA" sz="1600" dirty="0">
                <a:latin typeface="+mn-lt"/>
              </a:rPr>
              <a:t>3</a:t>
            </a:r>
            <a:r>
              <a:rPr lang="en-ZA" sz="1600" baseline="30000" dirty="0">
                <a:latin typeface="+mn-lt"/>
              </a:rPr>
              <a:t>rd</a:t>
            </a:r>
            <a:r>
              <a:rPr lang="en-ZA" sz="1600" dirty="0">
                <a:latin typeface="+mn-lt"/>
              </a:rPr>
              <a:t> wave</a:t>
            </a:r>
            <a:r>
              <a:rPr lang="en-ZA" sz="1600" b="0" dirty="0">
                <a:latin typeface="+mn-lt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xmlns="" val="252393358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omputer, table&#10;&#10;Description automatically generated">
            <a:extLst>
              <a:ext uri="{FF2B5EF4-FFF2-40B4-BE49-F238E27FC236}">
                <a16:creationId xmlns:a16="http://schemas.microsoft.com/office/drawing/2014/main" xmlns="" id="{9D18BE6E-2F7B-4D5B-8566-B4E9FC1DBFD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681" b="7962"/>
          <a:stretch/>
        </p:blipFill>
        <p:spPr>
          <a:xfrm>
            <a:off x="-1" y="1"/>
            <a:ext cx="9144001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AEE0FBFB-3061-49B6-8C51-50C414E424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63980" y="0"/>
            <a:ext cx="9016039" cy="657198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27B2C3B3-2D3F-4B6D-B904-E666CA7E7A2A}"/>
              </a:ext>
            </a:extLst>
          </p:cNvPr>
          <p:cNvSpPr txBox="1"/>
          <p:nvPr/>
        </p:nvSpPr>
        <p:spPr>
          <a:xfrm>
            <a:off x="35511" y="4897334"/>
            <a:ext cx="3302493" cy="1862048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uring the second week following the complete alcohol ban from a partial alcohol ban we see trauma presentations decrease by ~25.8% and weekend trauma burden decrease by ~33.9% (relative to 2 weeks prior to the ban).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s in the context of a baseline restricted alcohol availability, initial remaining stock on hand and expected end-of-month increase in trauma presentations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D8B1D781-B391-4A7B-99CD-F92266B8B9F1}"/>
              </a:ext>
            </a:extLst>
          </p:cNvPr>
          <p:cNvSpPr/>
          <p:nvPr/>
        </p:nvSpPr>
        <p:spPr>
          <a:xfrm>
            <a:off x="6826928" y="1341125"/>
            <a:ext cx="2240469" cy="896048"/>
          </a:xfrm>
          <a:prstGeom prst="rect">
            <a:avLst/>
          </a:prstGeom>
          <a:solidFill>
            <a:schemeClr val="accent2">
              <a:lumMod val="60000"/>
              <a:lumOff val="4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D6D4F8DA-ADA6-4852-A67B-A41E28648B3C}"/>
              </a:ext>
            </a:extLst>
          </p:cNvPr>
          <p:cNvSpPr/>
          <p:nvPr/>
        </p:nvSpPr>
        <p:spPr>
          <a:xfrm>
            <a:off x="6826928" y="2237173"/>
            <a:ext cx="2240470" cy="549847"/>
          </a:xfrm>
          <a:prstGeom prst="rect">
            <a:avLst/>
          </a:prstGeom>
          <a:solidFill>
            <a:schemeClr val="bg1">
              <a:lumMod val="7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BC467D85-E714-4A18-9D60-0D5F6590AB1C}"/>
              </a:ext>
            </a:extLst>
          </p:cNvPr>
          <p:cNvGraphicFramePr>
            <a:graphicFrameLocks noGrp="1"/>
          </p:cNvGraphicFramePr>
          <p:nvPr/>
        </p:nvGraphicFramePr>
        <p:xfrm>
          <a:off x="6747029" y="1025212"/>
          <a:ext cx="2320370" cy="17618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149">
                  <a:extLst>
                    <a:ext uri="{9D8B030D-6E8A-4147-A177-3AD203B41FA5}">
                      <a16:colId xmlns:a16="http://schemas.microsoft.com/office/drawing/2014/main" xmlns="" val="3616437462"/>
                    </a:ext>
                  </a:extLst>
                </a:gridCol>
                <a:gridCol w="433054">
                  <a:extLst>
                    <a:ext uri="{9D8B030D-6E8A-4147-A177-3AD203B41FA5}">
                      <a16:colId xmlns:a16="http://schemas.microsoft.com/office/drawing/2014/main" xmlns="" val="4172717350"/>
                    </a:ext>
                  </a:extLst>
                </a:gridCol>
                <a:gridCol w="631761">
                  <a:extLst>
                    <a:ext uri="{9D8B030D-6E8A-4147-A177-3AD203B41FA5}">
                      <a16:colId xmlns:a16="http://schemas.microsoft.com/office/drawing/2014/main" xmlns="" val="877168467"/>
                    </a:ext>
                  </a:extLst>
                </a:gridCol>
                <a:gridCol w="689673">
                  <a:extLst>
                    <a:ext uri="{9D8B030D-6E8A-4147-A177-3AD203B41FA5}">
                      <a16:colId xmlns:a16="http://schemas.microsoft.com/office/drawing/2014/main" xmlns="" val="2321084789"/>
                    </a:ext>
                  </a:extLst>
                </a:gridCol>
                <a:gridCol w="477733">
                  <a:extLst>
                    <a:ext uri="{9D8B030D-6E8A-4147-A177-3AD203B41FA5}">
                      <a16:colId xmlns:a16="http://schemas.microsoft.com/office/drawing/2014/main" xmlns="" val="1556560244"/>
                    </a:ext>
                  </a:extLst>
                </a:gridCol>
              </a:tblGrid>
              <a:tr h="356130">
                <a:tc>
                  <a:txBody>
                    <a:bodyPr/>
                    <a:lstStyle/>
                    <a:p>
                      <a:pPr algn="l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Date Perio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effectLst/>
                        </a:rPr>
                        <a:t>Lockdown Level</a:t>
                      </a:r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Alcohol Regulation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Curfew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527978368"/>
                  </a:ext>
                </a:extLst>
              </a:tr>
              <a:tr h="704346">
                <a:tc>
                  <a:txBody>
                    <a:bodyPr/>
                    <a:lstStyle/>
                    <a:p>
                      <a:pPr algn="l" fontAlgn="b"/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u="none" strike="noStrike">
                          <a:effectLst/>
                        </a:rPr>
                        <a:t>16 June -27 June 2021</a:t>
                      </a:r>
                      <a:endParaRPr lang="da-DK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Adjusted Level 3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Offsite sale restriction Mon-Thurs 10-00-18: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22:00-04: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68126026"/>
                  </a:ext>
                </a:extLst>
              </a:tr>
              <a:tr h="559858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&gt;28 June 20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Adjusted Level 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omplete prohibition of sa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21:00-04:0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26148176"/>
                  </a:ext>
                </a:extLst>
              </a:tr>
            </a:tbl>
          </a:graphicData>
        </a:graphic>
      </p:graphicFrame>
      <p:sp>
        <p:nvSpPr>
          <p:cNvPr id="3" name="Arrow: Right 2">
            <a:extLst>
              <a:ext uri="{FF2B5EF4-FFF2-40B4-BE49-F238E27FC236}">
                <a16:creationId xmlns:a16="http://schemas.microsoft.com/office/drawing/2014/main" xmlns="" id="{3A7DD697-14FF-461B-9B87-5934554C06E0}"/>
              </a:ext>
            </a:extLst>
          </p:cNvPr>
          <p:cNvSpPr/>
          <p:nvPr/>
        </p:nvSpPr>
        <p:spPr>
          <a:xfrm>
            <a:off x="5452031" y="5413265"/>
            <a:ext cx="905522" cy="372862"/>
          </a:xfrm>
          <a:prstGeom prst="rightArrow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xmlns="" id="{B355F69F-A3E3-4C85-AB0A-F4FB28F11663}"/>
              </a:ext>
            </a:extLst>
          </p:cNvPr>
          <p:cNvSpPr/>
          <p:nvPr/>
        </p:nvSpPr>
        <p:spPr>
          <a:xfrm>
            <a:off x="5452031" y="6013083"/>
            <a:ext cx="905522" cy="372862"/>
          </a:xfrm>
          <a:prstGeom prst="rightArrow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896C923-2EEB-49C3-AA1C-7F5AF251D457}"/>
              </a:ext>
            </a:extLst>
          </p:cNvPr>
          <p:cNvSpPr txBox="1"/>
          <p:nvPr/>
        </p:nvSpPr>
        <p:spPr>
          <a:xfrm>
            <a:off x="3195961" y="6571982"/>
            <a:ext cx="2149537" cy="26930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-06-2021 to 27-06-202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421C31FB-38A3-428B-AC8C-7166327DFF12}"/>
              </a:ext>
            </a:extLst>
          </p:cNvPr>
          <p:cNvSpPr txBox="1"/>
          <p:nvPr/>
        </p:nvSpPr>
        <p:spPr>
          <a:xfrm>
            <a:off x="6498454" y="6571982"/>
            <a:ext cx="2149537" cy="26930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8-06-2021 to 11-07-202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503D88FB-42EA-43E5-96D2-69A54E4470A0}"/>
              </a:ext>
            </a:extLst>
          </p:cNvPr>
          <p:cNvSpPr txBox="1"/>
          <p:nvPr/>
        </p:nvSpPr>
        <p:spPr>
          <a:xfrm>
            <a:off x="5075175" y="5049085"/>
            <a:ext cx="16592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25.8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104317B-E0AE-4512-BA8C-8FE5DC1EC503}"/>
              </a:ext>
            </a:extLst>
          </p:cNvPr>
          <p:cNvSpPr txBox="1"/>
          <p:nvPr/>
        </p:nvSpPr>
        <p:spPr>
          <a:xfrm>
            <a:off x="5075175" y="5698304"/>
            <a:ext cx="16592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33.9%</a:t>
            </a:r>
          </a:p>
        </p:txBody>
      </p:sp>
    </p:spTree>
    <p:extLst>
      <p:ext uri="{BB962C8B-B14F-4D97-AF65-F5344CB8AC3E}">
        <p14:creationId xmlns:p14="http://schemas.microsoft.com/office/powerpoint/2010/main" xmlns="" val="233944423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omputer, table&#10;&#10;Description automatically generated">
            <a:extLst>
              <a:ext uri="{FF2B5EF4-FFF2-40B4-BE49-F238E27FC236}">
                <a16:creationId xmlns:a16="http://schemas.microsoft.com/office/drawing/2014/main" xmlns="" id="{9D18BE6E-2F7B-4D5B-8566-B4E9FC1DBFD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681" b="7962"/>
          <a:stretch/>
        </p:blipFill>
        <p:spPr>
          <a:xfrm>
            <a:off x="-1" y="1"/>
            <a:ext cx="9144001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DB9A056-2BBC-4C01-9B69-B469F295246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t="953"/>
          <a:stretch/>
        </p:blipFill>
        <p:spPr>
          <a:xfrm>
            <a:off x="-1" y="16714"/>
            <a:ext cx="9144001" cy="656970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27B2C3B3-2D3F-4B6D-B904-E666CA7E7A2A}"/>
              </a:ext>
            </a:extLst>
          </p:cNvPr>
          <p:cNvSpPr txBox="1"/>
          <p:nvPr/>
        </p:nvSpPr>
        <p:spPr>
          <a:xfrm>
            <a:off x="35511" y="4897334"/>
            <a:ext cx="3302493" cy="1685077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ecent civil unrest and taxi violence, within the context of a baseline restricted alcohol availability and level 4 lockdown, has resulted in a 9.1% increase in total trauma presentations (week on week) to our hospital emergency </a:t>
            </a:r>
            <a:r>
              <a:rPr kumimoji="0" lang="en-US" sz="11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es</a:t>
            </a: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eline weekend trauma presentations were small but also saw an increase of 17.1% week on week post the recent civil unrest and taxi violence.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xmlns="" id="{3A7DD697-14FF-461B-9B87-5934554C06E0}"/>
              </a:ext>
            </a:extLst>
          </p:cNvPr>
          <p:cNvSpPr/>
          <p:nvPr/>
        </p:nvSpPr>
        <p:spPr>
          <a:xfrm>
            <a:off x="5452031" y="5413265"/>
            <a:ext cx="905522" cy="372862"/>
          </a:xfrm>
          <a:prstGeom prst="rightArrow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xmlns="" id="{B355F69F-A3E3-4C85-AB0A-F4FB28F11663}"/>
              </a:ext>
            </a:extLst>
          </p:cNvPr>
          <p:cNvSpPr/>
          <p:nvPr/>
        </p:nvSpPr>
        <p:spPr>
          <a:xfrm>
            <a:off x="5452031" y="6013083"/>
            <a:ext cx="905522" cy="372862"/>
          </a:xfrm>
          <a:prstGeom prst="rightArrow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896C923-2EEB-49C3-AA1C-7F5AF251D457}"/>
              </a:ext>
            </a:extLst>
          </p:cNvPr>
          <p:cNvSpPr txBox="1"/>
          <p:nvPr/>
        </p:nvSpPr>
        <p:spPr>
          <a:xfrm>
            <a:off x="3195961" y="6571982"/>
            <a:ext cx="2149537" cy="26930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5-07-2021 to 11-07-202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421C31FB-38A3-428B-AC8C-7166327DFF12}"/>
              </a:ext>
            </a:extLst>
          </p:cNvPr>
          <p:cNvSpPr txBox="1"/>
          <p:nvPr/>
        </p:nvSpPr>
        <p:spPr>
          <a:xfrm>
            <a:off x="6498454" y="6571982"/>
            <a:ext cx="2149537" cy="26930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-07-2021 to 18-07-202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503D88FB-42EA-43E5-96D2-69A54E4470A0}"/>
              </a:ext>
            </a:extLst>
          </p:cNvPr>
          <p:cNvSpPr txBox="1"/>
          <p:nvPr/>
        </p:nvSpPr>
        <p:spPr>
          <a:xfrm>
            <a:off x="5075175" y="5049085"/>
            <a:ext cx="16592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9.1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104317B-E0AE-4512-BA8C-8FE5DC1EC503}"/>
              </a:ext>
            </a:extLst>
          </p:cNvPr>
          <p:cNvSpPr txBox="1"/>
          <p:nvPr/>
        </p:nvSpPr>
        <p:spPr>
          <a:xfrm>
            <a:off x="5075175" y="5698304"/>
            <a:ext cx="16592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17.1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5744FCDF-A9B3-418D-B75F-FDAE182ED65A}"/>
              </a:ext>
            </a:extLst>
          </p:cNvPr>
          <p:cNvSpPr/>
          <p:nvPr/>
        </p:nvSpPr>
        <p:spPr>
          <a:xfrm>
            <a:off x="3415495" y="2255003"/>
            <a:ext cx="2105150" cy="658270"/>
          </a:xfrm>
          <a:prstGeom prst="rect">
            <a:avLst/>
          </a:prstGeom>
          <a:solidFill>
            <a:schemeClr val="accent2">
              <a:lumMod val="60000"/>
              <a:lumOff val="4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22D00790-2017-4491-B8E4-E2084B45962F}"/>
              </a:ext>
            </a:extLst>
          </p:cNvPr>
          <p:cNvSpPr/>
          <p:nvPr/>
        </p:nvSpPr>
        <p:spPr>
          <a:xfrm>
            <a:off x="3415495" y="1668694"/>
            <a:ext cx="2105150" cy="586309"/>
          </a:xfrm>
          <a:prstGeom prst="rect">
            <a:avLst/>
          </a:prstGeom>
          <a:solidFill>
            <a:schemeClr val="bg1">
              <a:lumMod val="75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xmlns="" id="{D6AFA95F-8873-4D2D-8ACA-A0722E447446}"/>
              </a:ext>
            </a:extLst>
          </p:cNvPr>
          <p:cNvGraphicFramePr>
            <a:graphicFrameLocks noGrp="1"/>
          </p:cNvGraphicFramePr>
          <p:nvPr/>
        </p:nvGraphicFramePr>
        <p:xfrm>
          <a:off x="3415495" y="1347250"/>
          <a:ext cx="2114027" cy="15660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311">
                  <a:extLst>
                    <a:ext uri="{9D8B030D-6E8A-4147-A177-3AD203B41FA5}">
                      <a16:colId xmlns:a16="http://schemas.microsoft.com/office/drawing/2014/main" xmlns="" val="3616437462"/>
                    </a:ext>
                  </a:extLst>
                </a:gridCol>
                <a:gridCol w="394543">
                  <a:extLst>
                    <a:ext uri="{9D8B030D-6E8A-4147-A177-3AD203B41FA5}">
                      <a16:colId xmlns:a16="http://schemas.microsoft.com/office/drawing/2014/main" xmlns="" val="4172717350"/>
                    </a:ext>
                  </a:extLst>
                </a:gridCol>
                <a:gridCol w="575581">
                  <a:extLst>
                    <a:ext uri="{9D8B030D-6E8A-4147-A177-3AD203B41FA5}">
                      <a16:colId xmlns:a16="http://schemas.microsoft.com/office/drawing/2014/main" xmlns="" val="877168467"/>
                    </a:ext>
                  </a:extLst>
                </a:gridCol>
                <a:gridCol w="628342">
                  <a:extLst>
                    <a:ext uri="{9D8B030D-6E8A-4147-A177-3AD203B41FA5}">
                      <a16:colId xmlns:a16="http://schemas.microsoft.com/office/drawing/2014/main" xmlns="" val="2321084789"/>
                    </a:ext>
                  </a:extLst>
                </a:gridCol>
                <a:gridCol w="435250">
                  <a:extLst>
                    <a:ext uri="{9D8B030D-6E8A-4147-A177-3AD203B41FA5}">
                      <a16:colId xmlns:a16="http://schemas.microsoft.com/office/drawing/2014/main" xmlns="" val="1556560244"/>
                    </a:ext>
                  </a:extLst>
                </a:gridCol>
              </a:tblGrid>
              <a:tr h="334139">
                <a:tc>
                  <a:txBody>
                    <a:bodyPr/>
                    <a:lstStyle/>
                    <a:p>
                      <a:pPr algn="l" fontAlgn="b"/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u="none" strike="noStrike" dirty="0">
                          <a:effectLst/>
                        </a:rPr>
                        <a:t>Date Period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u="none" strike="noStrike">
                          <a:effectLst/>
                        </a:rPr>
                        <a:t>Lockdown Level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u="none" strike="noStrike" dirty="0">
                          <a:effectLst/>
                        </a:rPr>
                        <a:t>Alcohol Regulation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u="none" strike="noStrike" dirty="0">
                          <a:effectLst/>
                        </a:rPr>
                        <a:t>Curfew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527978368"/>
                  </a:ext>
                </a:extLst>
              </a:tr>
              <a:tr h="584184"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&gt;28 June 2021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u="none" strike="noStrike" dirty="0">
                          <a:effectLst/>
                        </a:rPr>
                        <a:t>Adjusted Level 4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Complete prohibition of sal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effectLst/>
                        </a:rPr>
                        <a:t>21:00-04:00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26148176"/>
                  </a:ext>
                </a:extLst>
              </a:tr>
              <a:tr h="584184">
                <a:tc>
                  <a:txBody>
                    <a:bodyPr/>
                    <a:lstStyle/>
                    <a:p>
                      <a:pPr algn="l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July 2021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vil Unrest and Taxi Violence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above</a:t>
                      </a:r>
                    </a:p>
                  </a:txBody>
                  <a:tcPr marL="7620" marR="7620" marT="7620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above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76337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26884641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3592;p95">
            <a:extLst>
              <a:ext uri="{FF2B5EF4-FFF2-40B4-BE49-F238E27FC236}">
                <a16:creationId xmlns:a16="http://schemas.microsoft.com/office/drawing/2014/main" xmlns="" id="{72032437-B9BD-4337-89BA-5B5B73798275}"/>
              </a:ext>
            </a:extLst>
          </p:cNvPr>
          <p:cNvSpPr/>
          <p:nvPr/>
        </p:nvSpPr>
        <p:spPr>
          <a:xfrm>
            <a:off x="2621265" y="2903921"/>
            <a:ext cx="4233287" cy="909713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1" wrap="square" lIns="137156" tIns="137156" rIns="137156" bIns="137156" anchor="ctr" anchorCtr="0">
            <a:noAutofit/>
          </a:bodyPr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Vaccination Training: </a:t>
            </a: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601266" algn="l"/>
              </a:tabLst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 063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registered vaccinators on health platform</a:t>
            </a: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406004" algn="l"/>
              </a:tabLst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 013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trained vaccinators to date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1" name="Google Shape;3592;p95">
            <a:extLst>
              <a:ext uri="{FF2B5EF4-FFF2-40B4-BE49-F238E27FC236}">
                <a16:creationId xmlns:a16="http://schemas.microsoft.com/office/drawing/2014/main" xmlns="" id="{CA938EE5-C86F-49B9-9336-725C6EF22DAC}"/>
              </a:ext>
            </a:extLst>
          </p:cNvPr>
          <p:cNvSpPr/>
          <p:nvPr/>
        </p:nvSpPr>
        <p:spPr>
          <a:xfrm>
            <a:off x="2621265" y="5339962"/>
            <a:ext cx="5469380" cy="120024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1" wrap="square" lIns="137156" tIns="137156" rIns="137156" bIns="137156" anchor="ctr" anchorCtr="0">
            <a:noAutofit/>
          </a:bodyPr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silience and Hope: </a:t>
            </a: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469106" marR="0" lvl="0" indent="-2667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406004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tories of Hope and engagements to encourage vaccine uptake amongst HCWs</a:t>
            </a:r>
          </a:p>
          <a:p>
            <a:pPr marL="469106" marR="0" lvl="0" indent="-2667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406004" algn="l"/>
              </a:tabLst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ternal Health Comms Series to motivate staff during 3</a:t>
            </a:r>
            <a:r>
              <a:rPr kumimoji="0" lang="en-US" sz="9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d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wave(mitigate anxiety)</a:t>
            </a:r>
          </a:p>
          <a:p>
            <a:pPr marL="469106" marR="0" lvl="0" indent="-2667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406004" algn="l"/>
              </a:tabLst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ostering a Culture of Healing (Story of Hope) &amp; Collaborative Learning</a:t>
            </a: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9" name="Google Shape;3592;p95">
            <a:extLst>
              <a:ext uri="{FF2B5EF4-FFF2-40B4-BE49-F238E27FC236}">
                <a16:creationId xmlns:a16="http://schemas.microsoft.com/office/drawing/2014/main" xmlns="" id="{180C95A6-5F8B-4BA3-8643-BB21E44B90F7}"/>
              </a:ext>
            </a:extLst>
          </p:cNvPr>
          <p:cNvSpPr/>
          <p:nvPr/>
        </p:nvSpPr>
        <p:spPr>
          <a:xfrm>
            <a:off x="2639025" y="3960113"/>
            <a:ext cx="4233287" cy="1200244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1" wrap="square" lIns="137156" tIns="137156" rIns="137156" bIns="137156" anchor="ctr" anchorCtr="0">
            <a:noAutofit/>
          </a:bodyPr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ll-being and Safety: </a:t>
            </a: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creased advocacy and activation of Onsite Counselling Clinics (Employee Wellbeing Programme) </a:t>
            </a: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PE provision and improving OHS Practices</a:t>
            </a: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mmunicating practical ways for our staff to be safe at work</a:t>
            </a: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4" name="Google Shape;3592;p95">
            <a:extLst>
              <a:ext uri="{FF2B5EF4-FFF2-40B4-BE49-F238E27FC236}">
                <a16:creationId xmlns:a16="http://schemas.microsoft.com/office/drawing/2014/main" xmlns="" id="{0AA0A2D2-9FF1-41FB-979D-47A003EA90ED}"/>
              </a:ext>
            </a:extLst>
          </p:cNvPr>
          <p:cNvSpPr/>
          <p:nvPr/>
        </p:nvSpPr>
        <p:spPr>
          <a:xfrm>
            <a:off x="251520" y="1068265"/>
            <a:ext cx="4176464" cy="1658419"/>
          </a:xfrm>
          <a:prstGeom prst="round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spcFirstLastPara="1" wrap="square" lIns="137156" tIns="137156" rIns="137156" bIns="137156" anchor="ctr" anchorCtr="0">
            <a:noAutofit/>
          </a:bodyPr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orkforce Planning: </a:t>
            </a: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539354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o date, appointed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777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staff additional for COVID </a:t>
            </a: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539354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ppointed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827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HCW and support staff 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s well as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59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tern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or the Vaccination Drive </a:t>
            </a: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539354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ntract extensions until end of Sept </a:t>
            </a: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539354" algn="l"/>
              </a:tabLst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TICC appointments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inalised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469106" marR="0" lvl="0" indent="-203597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>
                <a:tab pos="539354" algn="l"/>
              </a:tabLst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765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applicant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n still be appointed, if needed</a:t>
            </a:r>
          </a:p>
          <a:p>
            <a:pPr marL="265509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539354" algn="l"/>
              </a:tabLst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26551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06004" algn="l"/>
              </a:tabLst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3AA8C4-6A30-48A6-B70D-427579409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417" y="259032"/>
            <a:ext cx="6447904" cy="419442"/>
          </a:xfrm>
        </p:spPr>
        <p:txBody>
          <a:bodyPr/>
          <a:lstStyle/>
          <a:p>
            <a:r>
              <a:rPr lang="en-ZA" sz="2400" dirty="0"/>
              <a:t>Preparing and Caring for our People – 3</a:t>
            </a:r>
            <a:r>
              <a:rPr lang="en-ZA" sz="2400" baseline="30000" dirty="0"/>
              <a:t>rd</a:t>
            </a:r>
            <a:r>
              <a:rPr lang="en-ZA" sz="2400" dirty="0"/>
              <a:t> Wave</a:t>
            </a:r>
            <a:endParaRPr lang="en-US" sz="2400" dirty="0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xmlns="" id="{B6977F34-571C-4498-B0B9-7210CD937EA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2988600"/>
            <a:ext cx="2621264" cy="2404120"/>
          </a:xfrm>
          <a:prstGeom prst="rect">
            <a:avLst/>
          </a:prstGeom>
        </p:spPr>
      </p:pic>
      <p:sp>
        <p:nvSpPr>
          <p:cNvPr id="54" name="Google Shape;3616;p95">
            <a:extLst>
              <a:ext uri="{FF2B5EF4-FFF2-40B4-BE49-F238E27FC236}">
                <a16:creationId xmlns:a16="http://schemas.microsoft.com/office/drawing/2014/main" xmlns="" id="{6718C338-2FEF-41B5-96E9-55519EDA5CAA}"/>
              </a:ext>
            </a:extLst>
          </p:cNvPr>
          <p:cNvSpPr/>
          <p:nvPr/>
        </p:nvSpPr>
        <p:spPr>
          <a:xfrm>
            <a:off x="7437444" y="5284551"/>
            <a:ext cx="1216422" cy="588056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137156" tIns="137156" rIns="137156" bIns="137156" anchor="ctr" anchorCtr="0">
            <a:noAutofit/>
          </a:bodyPr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rPr>
              <a:t>68.13% vaccine coverage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xmlns="" id="{3405C00D-150F-49EC-9573-713987703B9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5300" r="68263"/>
          <a:stretch/>
        </p:blipFill>
        <p:spPr>
          <a:xfrm>
            <a:off x="7590812" y="6023038"/>
            <a:ext cx="909686" cy="848128"/>
          </a:xfrm>
          <a:prstGeom prst="rect">
            <a:avLst/>
          </a:prstGeom>
        </p:spPr>
      </p:pic>
      <p:sp>
        <p:nvSpPr>
          <p:cNvPr id="13" name="Google Shape;3616;p95">
            <a:extLst>
              <a:ext uri="{FF2B5EF4-FFF2-40B4-BE49-F238E27FC236}">
                <a16:creationId xmlns:a16="http://schemas.microsoft.com/office/drawing/2014/main" xmlns="" id="{AA44A450-C5D6-4F4D-A635-70152A9E5891}"/>
              </a:ext>
            </a:extLst>
          </p:cNvPr>
          <p:cNvSpPr/>
          <p:nvPr/>
        </p:nvSpPr>
        <p:spPr>
          <a:xfrm>
            <a:off x="6156176" y="3066893"/>
            <a:ext cx="2274811" cy="322053"/>
          </a:xfrm>
          <a:prstGeom prst="roundRect">
            <a:avLst/>
          </a:prstGeom>
          <a:solidFill>
            <a:schemeClr val="accent6"/>
          </a:solidFill>
          <a:ln w="22225">
            <a:solidFill>
              <a:schemeClr val="bg1"/>
            </a:solidFill>
          </a:ln>
        </p:spPr>
        <p:txBody>
          <a:bodyPr spcFirstLastPara="1" wrap="square" lIns="137156" tIns="137156" rIns="137156" bIns="137156" anchor="ctr" anchorCtr="0">
            <a:no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rPr>
              <a:t>13 new registered vaccinators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Google Shape;3616;p95">
            <a:extLst>
              <a:ext uri="{FF2B5EF4-FFF2-40B4-BE49-F238E27FC236}">
                <a16:creationId xmlns:a16="http://schemas.microsoft.com/office/drawing/2014/main" xmlns="" id="{82563D19-1E74-47D8-BF0E-62ACF51FB5C8}"/>
              </a:ext>
            </a:extLst>
          </p:cNvPr>
          <p:cNvSpPr/>
          <p:nvPr/>
        </p:nvSpPr>
        <p:spPr>
          <a:xfrm>
            <a:off x="6186226" y="3419970"/>
            <a:ext cx="2244761" cy="322053"/>
          </a:xfrm>
          <a:prstGeom prst="roundRect">
            <a:avLst/>
          </a:prstGeom>
          <a:solidFill>
            <a:schemeClr val="accent6"/>
          </a:solidFill>
          <a:ln w="22225">
            <a:solidFill>
              <a:schemeClr val="bg1"/>
            </a:solidFill>
          </a:ln>
        </p:spPr>
        <p:txBody>
          <a:bodyPr spcFirstLastPara="1" wrap="square" lIns="137156" tIns="137156" rIns="137156" bIns="137156" anchor="ctr" anchorCtr="0">
            <a:no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rPr>
              <a:t>9 additionally trained vaccinators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xmlns="" id="{430196DA-0234-46F8-ABE9-0490B52F30E1}"/>
              </a:ext>
            </a:extLst>
          </p:cNvPr>
          <p:cNvGraphicFramePr>
            <a:graphicFrameLocks noGrp="1"/>
          </p:cNvGraphicFramePr>
          <p:nvPr/>
        </p:nvGraphicFramePr>
        <p:xfrm>
          <a:off x="4211960" y="1497593"/>
          <a:ext cx="4641119" cy="111356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797536">
                  <a:extLst>
                    <a:ext uri="{9D8B030D-6E8A-4147-A177-3AD203B41FA5}">
                      <a16:colId xmlns:a16="http://schemas.microsoft.com/office/drawing/2014/main" xmlns="" val="2819939195"/>
                    </a:ext>
                  </a:extLst>
                </a:gridCol>
                <a:gridCol w="387668">
                  <a:extLst>
                    <a:ext uri="{9D8B030D-6E8A-4147-A177-3AD203B41FA5}">
                      <a16:colId xmlns:a16="http://schemas.microsoft.com/office/drawing/2014/main" xmlns="" val="1632584149"/>
                    </a:ext>
                  </a:extLst>
                </a:gridCol>
                <a:gridCol w="382905">
                  <a:extLst>
                    <a:ext uri="{9D8B030D-6E8A-4147-A177-3AD203B41FA5}">
                      <a16:colId xmlns:a16="http://schemas.microsoft.com/office/drawing/2014/main" xmlns="" val="2571918640"/>
                    </a:ext>
                  </a:extLst>
                </a:gridCol>
                <a:gridCol w="405130">
                  <a:extLst>
                    <a:ext uri="{9D8B030D-6E8A-4147-A177-3AD203B41FA5}">
                      <a16:colId xmlns:a16="http://schemas.microsoft.com/office/drawing/2014/main" xmlns="" val="42093660"/>
                    </a:ext>
                  </a:extLst>
                </a:gridCol>
                <a:gridCol w="433705">
                  <a:extLst>
                    <a:ext uri="{9D8B030D-6E8A-4147-A177-3AD203B41FA5}">
                      <a16:colId xmlns:a16="http://schemas.microsoft.com/office/drawing/2014/main" xmlns="" val="1786674813"/>
                    </a:ext>
                  </a:extLst>
                </a:gridCol>
                <a:gridCol w="506181">
                  <a:extLst>
                    <a:ext uri="{9D8B030D-6E8A-4147-A177-3AD203B41FA5}">
                      <a16:colId xmlns:a16="http://schemas.microsoft.com/office/drawing/2014/main" xmlns="" val="3967220381"/>
                    </a:ext>
                  </a:extLst>
                </a:gridCol>
                <a:gridCol w="575998">
                  <a:extLst>
                    <a:ext uri="{9D8B030D-6E8A-4147-A177-3AD203B41FA5}">
                      <a16:colId xmlns:a16="http://schemas.microsoft.com/office/drawing/2014/main" xmlns="" val="3233559998"/>
                    </a:ext>
                  </a:extLst>
                </a:gridCol>
                <a:gridCol w="575998">
                  <a:extLst>
                    <a:ext uri="{9D8B030D-6E8A-4147-A177-3AD203B41FA5}">
                      <a16:colId xmlns:a16="http://schemas.microsoft.com/office/drawing/2014/main" xmlns="" val="4245009465"/>
                    </a:ext>
                  </a:extLst>
                </a:gridCol>
                <a:gridCol w="575998">
                  <a:extLst>
                    <a:ext uri="{9D8B030D-6E8A-4147-A177-3AD203B41FA5}">
                      <a16:colId xmlns:a16="http://schemas.microsoft.com/office/drawing/2014/main" xmlns="" val="604239022"/>
                    </a:ext>
                  </a:extLst>
                </a:gridCol>
              </a:tblGrid>
              <a:tr h="263274">
                <a:tc>
                  <a:txBody>
                    <a:bodyPr/>
                    <a:lstStyle/>
                    <a:p>
                      <a:r>
                        <a:rPr lang="en-US" sz="800" dirty="0"/>
                        <a:t>Status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PNs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SNs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NAs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MOs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Pharm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Pharm Assist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Admin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Interns</a:t>
                      </a:r>
                      <a:endParaRPr lang="en-ZA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48124759"/>
                  </a:ext>
                </a:extLst>
              </a:tr>
              <a:tr h="282463">
                <a:tc rowSpan="3">
                  <a:txBody>
                    <a:bodyPr/>
                    <a:lstStyle/>
                    <a:p>
                      <a:r>
                        <a:rPr lang="en-US" sz="800" dirty="0"/>
                        <a:t>In progress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1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6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1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2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42</a:t>
                      </a:r>
                      <a:endParaRPr lang="en-ZA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94</a:t>
                      </a:r>
                      <a:endParaRPr lang="en-ZA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7798005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ZA" sz="800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</a:rPr>
                        <a:t>General Workers</a:t>
                      </a:r>
                      <a:endParaRPr lang="en-ZA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sz="800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ZA" sz="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sz="800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19110075"/>
                  </a:ext>
                </a:extLst>
              </a:tr>
              <a:tr h="282463">
                <a:tc vMerge="1">
                  <a:txBody>
                    <a:bodyPr/>
                    <a:lstStyle/>
                    <a:p>
                      <a:endParaRPr lang="en-ZA" sz="800" dirty="0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4</a:t>
                      </a:r>
                      <a:endParaRPr lang="en-ZA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42018602"/>
                  </a:ext>
                </a:extLst>
              </a:tr>
            </a:tbl>
          </a:graphicData>
        </a:graphic>
      </p:graphicFrame>
      <p:sp>
        <p:nvSpPr>
          <p:cNvPr id="15" name="Google Shape;3616;p95">
            <a:extLst>
              <a:ext uri="{FF2B5EF4-FFF2-40B4-BE49-F238E27FC236}">
                <a16:creationId xmlns:a16="http://schemas.microsoft.com/office/drawing/2014/main" xmlns="" id="{B4489AFC-F43D-4D68-A4F4-EDD8D609F241}"/>
              </a:ext>
            </a:extLst>
          </p:cNvPr>
          <p:cNvSpPr/>
          <p:nvPr/>
        </p:nvSpPr>
        <p:spPr>
          <a:xfrm>
            <a:off x="3760968" y="1152162"/>
            <a:ext cx="3168353" cy="371584"/>
          </a:xfrm>
          <a:prstGeom prst="roundRect">
            <a:avLst/>
          </a:prstGeom>
          <a:solidFill>
            <a:schemeClr val="accent3"/>
          </a:solidFill>
          <a:ln w="15875">
            <a:solidFill>
              <a:schemeClr val="bg1"/>
            </a:solidFill>
          </a:ln>
        </p:spPr>
        <p:txBody>
          <a:bodyPr spcFirstLastPara="1" wrap="square" lIns="137156" tIns="137156" rIns="137156" bIns="137156" anchor="ctr" anchorCtr="0">
            <a:noAutofit/>
          </a:bodyPr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Arial"/>
                <a:sym typeface="Arial"/>
              </a:rPr>
              <a:t>Staffing for Athlone Mass Vaccine Site: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xmlns="" id="{50E11DE4-CDC9-4589-8ABD-E461CDD2926E}"/>
              </a:ext>
            </a:extLst>
          </p:cNvPr>
          <p:cNvSpPr/>
          <p:nvPr/>
        </p:nvSpPr>
        <p:spPr>
          <a:xfrm>
            <a:off x="6363235" y="4055497"/>
            <a:ext cx="2148417" cy="341281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5509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ntinued training on PPE use </a:t>
            </a:r>
          </a:p>
        </p:txBody>
      </p:sp>
    </p:spTree>
    <p:extLst>
      <p:ext uri="{BB962C8B-B14F-4D97-AF65-F5344CB8AC3E}">
        <p14:creationId xmlns:p14="http://schemas.microsoft.com/office/powerpoint/2010/main" xmlns="" val="337639161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0F951A0-924A-4A47-8614-60F4F4ACD0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675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ZA" sz="675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7103A0D-24D6-4E04-AA0E-64AC848F41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6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75E176B8-7799-4D82-93C6-B6C92D163832}"/>
              </a:ext>
            </a:extLst>
          </p:cNvPr>
          <p:cNvGraphicFramePr/>
          <p:nvPr/>
        </p:nvGraphicFramePr>
        <p:xfrm>
          <a:off x="295276" y="1054360"/>
          <a:ext cx="8671442" cy="52811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xmlns="" id="{13C5E259-896C-4476-AE05-1282665D2D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75" y="180975"/>
            <a:ext cx="8597900" cy="558800"/>
          </a:xfrm>
        </p:spPr>
        <p:txBody>
          <a:bodyPr/>
          <a:lstStyle/>
          <a:p>
            <a:r>
              <a:rPr lang="en-US" sz="2400" dirty="0"/>
              <a:t>Additional Staff Capacity (Public Sector)</a:t>
            </a:r>
          </a:p>
        </p:txBody>
      </p:sp>
    </p:spTree>
    <p:extLst>
      <p:ext uri="{BB962C8B-B14F-4D97-AF65-F5344CB8AC3E}">
        <p14:creationId xmlns:p14="http://schemas.microsoft.com/office/powerpoint/2010/main" xmlns="" val="24373529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7150" y="857250"/>
            <a:ext cx="9015413" cy="5143500"/>
          </a:xfrm>
          <a:prstGeom prst="rect">
            <a:avLst/>
          </a:prstGeom>
          <a:noFill/>
        </p:spPr>
      </p:pic>
      <p:sp>
        <p:nvSpPr>
          <p:cNvPr id="4" name="Title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Departmental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BB2699-2CDA-44A8-BE6E-DA302536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3568" y="2492375"/>
            <a:ext cx="8209283" cy="1152649"/>
          </a:xfrm>
        </p:spPr>
        <p:txBody>
          <a:bodyPr>
            <a:noAutofit/>
          </a:bodyPr>
          <a:lstStyle/>
          <a:p>
            <a:r>
              <a:rPr lang="en-ZA" b="1" dirty="0"/>
              <a:t>Vaccine Implementation upda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50AD3792-1FE1-0641-880E-3295B514014C}"/>
              </a:ext>
            </a:extLst>
          </p:cNvPr>
          <p:cNvSpPr txBox="1"/>
          <p:nvPr/>
        </p:nvSpPr>
        <p:spPr>
          <a:xfrm>
            <a:off x="7210269" y="307298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640308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0EC4F6B-AF9F-40AE-972E-4ECDF01C38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78080" y="6446192"/>
            <a:ext cx="514400" cy="23083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8F46701F-50CC-4C74-A7D0-CFE155B29B91}"/>
              </a:ext>
            </a:extLst>
          </p:cNvPr>
          <p:cNvSpPr/>
          <p:nvPr/>
        </p:nvSpPr>
        <p:spPr>
          <a:xfrm>
            <a:off x="466919" y="2479675"/>
            <a:ext cx="8353553" cy="545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78EA6B1-2C4D-4C20-97F6-DF4A709F547C}"/>
              </a:ext>
            </a:extLst>
          </p:cNvPr>
          <p:cNvSpPr/>
          <p:nvPr/>
        </p:nvSpPr>
        <p:spPr>
          <a:xfrm>
            <a:off x="466918" y="2837994"/>
            <a:ext cx="8353554" cy="6852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Oval 7">
            <a:extLst>
              <a:ext uri="{FF2B5EF4-FFF2-40B4-BE49-F238E27FC236}">
                <a16:creationId xmlns:a16="http://schemas.microsoft.com/office/drawing/2014/main" xmlns="" id="{27956342-EADC-487A-AD4F-7C4727B551DD}"/>
              </a:ext>
            </a:extLst>
          </p:cNvPr>
          <p:cNvSpPr/>
          <p:nvPr/>
        </p:nvSpPr>
        <p:spPr>
          <a:xfrm>
            <a:off x="4195021" y="2539078"/>
            <a:ext cx="288000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Oval 8">
            <a:extLst>
              <a:ext uri="{FF2B5EF4-FFF2-40B4-BE49-F238E27FC236}">
                <a16:creationId xmlns:a16="http://schemas.microsoft.com/office/drawing/2014/main" xmlns="" id="{78DBC374-A6B5-46E4-A46D-48BBF5C1521F}"/>
              </a:ext>
            </a:extLst>
          </p:cNvPr>
          <p:cNvSpPr/>
          <p:nvPr/>
        </p:nvSpPr>
        <p:spPr>
          <a:xfrm>
            <a:off x="5571152" y="2539078"/>
            <a:ext cx="288000" cy="28803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Oval 9">
            <a:extLst>
              <a:ext uri="{FF2B5EF4-FFF2-40B4-BE49-F238E27FC236}">
                <a16:creationId xmlns:a16="http://schemas.microsoft.com/office/drawing/2014/main" xmlns="" id="{A8F9E14A-27A3-4A89-824A-FFC7BC3B2207}"/>
              </a:ext>
            </a:extLst>
          </p:cNvPr>
          <p:cNvSpPr/>
          <p:nvPr/>
        </p:nvSpPr>
        <p:spPr>
          <a:xfrm>
            <a:off x="7147349" y="2539078"/>
            <a:ext cx="288000" cy="28803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Oval 12">
            <a:extLst>
              <a:ext uri="{FF2B5EF4-FFF2-40B4-BE49-F238E27FC236}">
                <a16:creationId xmlns:a16="http://schemas.microsoft.com/office/drawing/2014/main" xmlns="" id="{0768DAB9-FC57-40EF-86F7-46E4273BA584}"/>
              </a:ext>
            </a:extLst>
          </p:cNvPr>
          <p:cNvSpPr/>
          <p:nvPr/>
        </p:nvSpPr>
        <p:spPr>
          <a:xfrm>
            <a:off x="1746749" y="2539078"/>
            <a:ext cx="288000" cy="28803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Oval 13">
            <a:extLst>
              <a:ext uri="{FF2B5EF4-FFF2-40B4-BE49-F238E27FC236}">
                <a16:creationId xmlns:a16="http://schemas.microsoft.com/office/drawing/2014/main" xmlns="" id="{B111346C-8CD6-4FA0-B229-9CDBB109FC0B}"/>
              </a:ext>
            </a:extLst>
          </p:cNvPr>
          <p:cNvSpPr/>
          <p:nvPr/>
        </p:nvSpPr>
        <p:spPr>
          <a:xfrm>
            <a:off x="2898880" y="2539078"/>
            <a:ext cx="288000" cy="2880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Oval 113">
            <a:extLst>
              <a:ext uri="{FF2B5EF4-FFF2-40B4-BE49-F238E27FC236}">
                <a16:creationId xmlns:a16="http://schemas.microsoft.com/office/drawing/2014/main" xmlns="" id="{1D7B07CE-5AC8-4202-8FB1-E691F6F78F88}"/>
              </a:ext>
            </a:extLst>
          </p:cNvPr>
          <p:cNvSpPr/>
          <p:nvPr/>
        </p:nvSpPr>
        <p:spPr>
          <a:xfrm>
            <a:off x="2700880" y="3235606"/>
            <a:ext cx="684000" cy="68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21" name="Group 5">
            <a:extLst>
              <a:ext uri="{FF2B5EF4-FFF2-40B4-BE49-F238E27FC236}">
                <a16:creationId xmlns:a16="http://schemas.microsoft.com/office/drawing/2014/main" xmlns="" id="{37F1B6CD-B5FC-4533-992A-AF3396B7E6F9}"/>
              </a:ext>
            </a:extLst>
          </p:cNvPr>
          <p:cNvGrpSpPr/>
          <p:nvPr/>
        </p:nvGrpSpPr>
        <p:grpSpPr>
          <a:xfrm>
            <a:off x="2267744" y="3851528"/>
            <a:ext cx="1550270" cy="1214720"/>
            <a:chOff x="2676930" y="3237180"/>
            <a:chExt cx="1550270" cy="121472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36950CB9-F754-4923-8E57-5ED1370F7D94}"/>
                </a:ext>
              </a:extLst>
            </p:cNvPr>
            <p:cNvSpPr txBox="1"/>
            <p:nvPr/>
          </p:nvSpPr>
          <p:spPr>
            <a:xfrm>
              <a:off x="2676933" y="3237180"/>
              <a:ext cx="1550267" cy="7386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Sisonke </a:t>
              </a:r>
              <a:r>
                <a:rPr kumimoji="0" lang="en-US" altLang="ko-K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Programme</a:t>
              </a: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 Concludes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7C51F18D-5180-4CB1-9420-6584E65FFD9E}"/>
                </a:ext>
              </a:extLst>
            </p:cNvPr>
            <p:cNvSpPr txBox="1"/>
            <p:nvPr/>
          </p:nvSpPr>
          <p:spPr>
            <a:xfrm>
              <a:off x="2676930" y="3990235"/>
              <a:ext cx="155026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91 732 HWCs vaccinated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24" name="Straight Arrow Connector 115">
            <a:extLst>
              <a:ext uri="{FF2B5EF4-FFF2-40B4-BE49-F238E27FC236}">
                <a16:creationId xmlns:a16="http://schemas.microsoft.com/office/drawing/2014/main" xmlns="" id="{56D8C749-3B44-45F5-8CA8-66327B3EA7FA}"/>
              </a:ext>
            </a:extLst>
          </p:cNvPr>
          <p:cNvCxnSpPr>
            <a:cxnSpLocks/>
          </p:cNvCxnSpPr>
          <p:nvPr/>
        </p:nvCxnSpPr>
        <p:spPr>
          <a:xfrm flipV="1">
            <a:off x="3042880" y="2941709"/>
            <a:ext cx="0" cy="293898"/>
          </a:xfrm>
          <a:prstGeom prst="straightConnector1">
            <a:avLst/>
          </a:prstGeom>
          <a:ln w="254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119">
            <a:extLst>
              <a:ext uri="{FF2B5EF4-FFF2-40B4-BE49-F238E27FC236}">
                <a16:creationId xmlns:a16="http://schemas.microsoft.com/office/drawing/2014/main" xmlns="" id="{106A2400-AAB8-4679-A005-57BACFE01509}"/>
              </a:ext>
            </a:extLst>
          </p:cNvPr>
          <p:cNvSpPr/>
          <p:nvPr/>
        </p:nvSpPr>
        <p:spPr>
          <a:xfrm>
            <a:off x="5373152" y="3236765"/>
            <a:ext cx="684000" cy="684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26" name="Group 15">
            <a:extLst>
              <a:ext uri="{FF2B5EF4-FFF2-40B4-BE49-F238E27FC236}">
                <a16:creationId xmlns:a16="http://schemas.microsoft.com/office/drawing/2014/main" xmlns="" id="{6F374947-75F6-413E-AD43-B74A52CE0E8D}"/>
              </a:ext>
            </a:extLst>
          </p:cNvPr>
          <p:cNvGrpSpPr/>
          <p:nvPr/>
        </p:nvGrpSpPr>
        <p:grpSpPr>
          <a:xfrm>
            <a:off x="4932040" y="3875595"/>
            <a:ext cx="1558246" cy="1793439"/>
            <a:chOff x="4890157" y="3026110"/>
            <a:chExt cx="1558246" cy="1793439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23E02D0A-C093-4DBB-9C5F-5F9E41EDE457}"/>
                </a:ext>
              </a:extLst>
            </p:cNvPr>
            <p:cNvSpPr txBox="1"/>
            <p:nvPr/>
          </p:nvSpPr>
          <p:spPr>
            <a:xfrm>
              <a:off x="4898136" y="3026110"/>
              <a:ext cx="1550267" cy="95410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Rollout of Educator Vaccination </a:t>
              </a:r>
              <a:r>
                <a:rPr kumimoji="0" lang="en-US" altLang="ko-K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Programme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7AA6ACF4-2EA6-4890-B365-28F6A8BEB499}"/>
                </a:ext>
              </a:extLst>
            </p:cNvPr>
            <p:cNvSpPr txBox="1"/>
            <p:nvPr/>
          </p:nvSpPr>
          <p:spPr>
            <a:xfrm>
              <a:off x="4890157" y="3988552"/>
              <a:ext cx="155026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Educators offered vaccination at designated sites in the province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29" name="Straight Arrow Connector 121">
            <a:extLst>
              <a:ext uri="{FF2B5EF4-FFF2-40B4-BE49-F238E27FC236}">
                <a16:creationId xmlns:a16="http://schemas.microsoft.com/office/drawing/2014/main" xmlns="" id="{108A39A8-01F1-4D50-A2D8-39F4106D5DC0}"/>
              </a:ext>
            </a:extLst>
          </p:cNvPr>
          <p:cNvCxnSpPr>
            <a:cxnSpLocks/>
          </p:cNvCxnSpPr>
          <p:nvPr/>
        </p:nvCxnSpPr>
        <p:spPr>
          <a:xfrm flipV="1">
            <a:off x="5715152" y="2884260"/>
            <a:ext cx="0" cy="352505"/>
          </a:xfrm>
          <a:prstGeom prst="straightConnector1">
            <a:avLst/>
          </a:prstGeom>
          <a:ln w="2540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125">
            <a:extLst>
              <a:ext uri="{FF2B5EF4-FFF2-40B4-BE49-F238E27FC236}">
                <a16:creationId xmlns:a16="http://schemas.microsoft.com/office/drawing/2014/main" xmlns="" id="{9A4DD3B0-C7E5-4713-A1BA-35D7AC5D8F5C}"/>
              </a:ext>
            </a:extLst>
          </p:cNvPr>
          <p:cNvSpPr/>
          <p:nvPr/>
        </p:nvSpPr>
        <p:spPr>
          <a:xfrm>
            <a:off x="8317500" y="3237923"/>
            <a:ext cx="684000" cy="684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31" name="Group 17">
            <a:extLst>
              <a:ext uri="{FF2B5EF4-FFF2-40B4-BE49-F238E27FC236}">
                <a16:creationId xmlns:a16="http://schemas.microsoft.com/office/drawing/2014/main" xmlns="" id="{5592742D-18F7-4E85-880C-A26E1748137E}"/>
              </a:ext>
            </a:extLst>
          </p:cNvPr>
          <p:cNvGrpSpPr/>
          <p:nvPr/>
        </p:nvGrpSpPr>
        <p:grpSpPr>
          <a:xfrm>
            <a:off x="7884368" y="4011527"/>
            <a:ext cx="1187624" cy="1001649"/>
            <a:chOff x="7119339" y="3181155"/>
            <a:chExt cx="1550267" cy="1001649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AC9B6C33-2B30-426C-B25D-6ECC5D73EB6C}"/>
                </a:ext>
              </a:extLst>
            </p:cNvPr>
            <p:cNvSpPr txBox="1"/>
            <p:nvPr/>
          </p:nvSpPr>
          <p:spPr>
            <a:xfrm>
              <a:off x="7119339" y="3181155"/>
              <a:ext cx="1550267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Vaccinations up to 14 July 2021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C7F45132-FAB7-4E86-B426-7476BF45A287}"/>
                </a:ext>
              </a:extLst>
            </p:cNvPr>
            <p:cNvSpPr txBox="1"/>
            <p:nvPr/>
          </p:nvSpPr>
          <p:spPr>
            <a:xfrm>
              <a:off x="7119339" y="3905805"/>
              <a:ext cx="155026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708 258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4" name="Straight Arrow Connector 127">
            <a:extLst>
              <a:ext uri="{FF2B5EF4-FFF2-40B4-BE49-F238E27FC236}">
                <a16:creationId xmlns:a16="http://schemas.microsoft.com/office/drawing/2014/main" xmlns="" id="{5CB193BC-0739-443F-96BB-B3B1FFF76E9B}"/>
              </a:ext>
            </a:extLst>
          </p:cNvPr>
          <p:cNvCxnSpPr>
            <a:cxnSpLocks/>
          </p:cNvCxnSpPr>
          <p:nvPr/>
        </p:nvCxnSpPr>
        <p:spPr>
          <a:xfrm flipH="1" flipV="1">
            <a:off x="8657210" y="2956813"/>
            <a:ext cx="4580" cy="281110"/>
          </a:xfrm>
          <a:prstGeom prst="straightConnector1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131">
            <a:extLst>
              <a:ext uri="{FF2B5EF4-FFF2-40B4-BE49-F238E27FC236}">
                <a16:creationId xmlns:a16="http://schemas.microsoft.com/office/drawing/2014/main" xmlns="" id="{896B6BDB-50E6-4F8D-881E-5335A2EEF231}"/>
              </a:ext>
            </a:extLst>
          </p:cNvPr>
          <p:cNvSpPr/>
          <p:nvPr/>
        </p:nvSpPr>
        <p:spPr>
          <a:xfrm>
            <a:off x="1548749" y="4245472"/>
            <a:ext cx="684000" cy="684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36" name="Group 4">
            <a:extLst>
              <a:ext uri="{FF2B5EF4-FFF2-40B4-BE49-F238E27FC236}">
                <a16:creationId xmlns:a16="http://schemas.microsoft.com/office/drawing/2014/main" xmlns="" id="{D1601AFB-4A4D-4933-A764-20BC8528F28E}"/>
              </a:ext>
            </a:extLst>
          </p:cNvPr>
          <p:cNvGrpSpPr/>
          <p:nvPr/>
        </p:nvGrpSpPr>
        <p:grpSpPr>
          <a:xfrm>
            <a:off x="1115616" y="4941535"/>
            <a:ext cx="1550267" cy="1167717"/>
            <a:chOff x="1570525" y="4647365"/>
            <a:chExt cx="1550267" cy="1167717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AA636C4B-C95B-4B23-A9EA-FB813DB55DD7}"/>
                </a:ext>
              </a:extLst>
            </p:cNvPr>
            <p:cNvSpPr txBox="1"/>
            <p:nvPr/>
          </p:nvSpPr>
          <p:spPr>
            <a:xfrm>
              <a:off x="1570525" y="4647365"/>
              <a:ext cx="1550267" cy="7386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EVDS Registration Opens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xmlns="" id="{08AA5505-15BE-4FE8-9F66-4784AE208EBC}"/>
                </a:ext>
              </a:extLst>
            </p:cNvPr>
            <p:cNvSpPr txBox="1"/>
            <p:nvPr/>
          </p:nvSpPr>
          <p:spPr>
            <a:xfrm>
              <a:off x="1570525" y="5353417"/>
              <a:ext cx="155026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Registration opens for &gt;60 years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9" name="Straight Arrow Connector 133">
            <a:extLst>
              <a:ext uri="{FF2B5EF4-FFF2-40B4-BE49-F238E27FC236}">
                <a16:creationId xmlns:a16="http://schemas.microsoft.com/office/drawing/2014/main" xmlns="" id="{1F253C1C-939E-4CC9-9705-CC19337BB6C2}"/>
              </a:ext>
            </a:extLst>
          </p:cNvPr>
          <p:cNvCxnSpPr>
            <a:cxnSpLocks/>
          </p:cNvCxnSpPr>
          <p:nvPr/>
        </p:nvCxnSpPr>
        <p:spPr>
          <a:xfrm flipV="1">
            <a:off x="1890749" y="2941709"/>
            <a:ext cx="0" cy="1371600"/>
          </a:xfrm>
          <a:prstGeom prst="straightConnector1">
            <a:avLst/>
          </a:prstGeom>
          <a:ln w="25400">
            <a:solidFill>
              <a:schemeClr val="accent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150">
            <a:extLst>
              <a:ext uri="{FF2B5EF4-FFF2-40B4-BE49-F238E27FC236}">
                <a16:creationId xmlns:a16="http://schemas.microsoft.com/office/drawing/2014/main" xmlns="" id="{47321BEA-4CBE-4A07-A1E1-0F26DA007340}"/>
              </a:ext>
            </a:extLst>
          </p:cNvPr>
          <p:cNvSpPr/>
          <p:nvPr/>
        </p:nvSpPr>
        <p:spPr>
          <a:xfrm>
            <a:off x="3997021" y="4241996"/>
            <a:ext cx="684000" cy="68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C0E39881-AB61-45A7-B2A2-08E1337672B1}"/>
              </a:ext>
            </a:extLst>
          </p:cNvPr>
          <p:cNvSpPr txBox="1"/>
          <p:nvPr/>
        </p:nvSpPr>
        <p:spPr>
          <a:xfrm>
            <a:off x="3563888" y="4981859"/>
            <a:ext cx="1550267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Rollout of National Vaccination </a:t>
            </a:r>
            <a:r>
              <a:rPr kumimoji="0" lang="en-US" altLang="ko-K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Programme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cxnSp>
        <p:nvCxnSpPr>
          <p:cNvPr id="42" name="Straight Arrow Connector 152">
            <a:extLst>
              <a:ext uri="{FF2B5EF4-FFF2-40B4-BE49-F238E27FC236}">
                <a16:creationId xmlns:a16="http://schemas.microsoft.com/office/drawing/2014/main" xmlns="" id="{835959B7-1A1B-4492-83F6-4C465D6D0FD7}"/>
              </a:ext>
            </a:extLst>
          </p:cNvPr>
          <p:cNvCxnSpPr>
            <a:cxnSpLocks/>
          </p:cNvCxnSpPr>
          <p:nvPr/>
        </p:nvCxnSpPr>
        <p:spPr>
          <a:xfrm flipV="1">
            <a:off x="4261762" y="2916599"/>
            <a:ext cx="10503" cy="1371600"/>
          </a:xfrm>
          <a:prstGeom prst="straightConnector1">
            <a:avLst/>
          </a:prstGeom>
          <a:ln w="254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156">
            <a:extLst>
              <a:ext uri="{FF2B5EF4-FFF2-40B4-BE49-F238E27FC236}">
                <a16:creationId xmlns:a16="http://schemas.microsoft.com/office/drawing/2014/main" xmlns="" id="{AA9733B1-FE6F-4C7D-AEA6-E9825D762648}"/>
              </a:ext>
            </a:extLst>
          </p:cNvPr>
          <p:cNvSpPr/>
          <p:nvPr/>
        </p:nvSpPr>
        <p:spPr>
          <a:xfrm>
            <a:off x="6949349" y="4238520"/>
            <a:ext cx="684000" cy="684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44" name="Group 16">
            <a:extLst>
              <a:ext uri="{FF2B5EF4-FFF2-40B4-BE49-F238E27FC236}">
                <a16:creationId xmlns:a16="http://schemas.microsoft.com/office/drawing/2014/main" xmlns="" id="{3B4B89B9-C79A-4357-ADCD-80A19E45B1A1}"/>
              </a:ext>
            </a:extLst>
          </p:cNvPr>
          <p:cNvGrpSpPr/>
          <p:nvPr/>
        </p:nvGrpSpPr>
        <p:grpSpPr>
          <a:xfrm>
            <a:off x="6516216" y="4857659"/>
            <a:ext cx="1550267" cy="938077"/>
            <a:chOff x="6011399" y="4748135"/>
            <a:chExt cx="1550267" cy="938077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446AB1B3-BE09-4349-B7EB-59C1F61E5269}"/>
                </a:ext>
              </a:extLst>
            </p:cNvPr>
            <p:cNvSpPr txBox="1"/>
            <p:nvPr/>
          </p:nvSpPr>
          <p:spPr>
            <a:xfrm>
              <a:off x="6011399" y="4748135"/>
              <a:ext cx="1550267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EVDS Registration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xmlns="" id="{BB94FE94-934C-4A3B-8199-B39CFC6466D4}"/>
                </a:ext>
              </a:extLst>
            </p:cNvPr>
            <p:cNvSpPr txBox="1"/>
            <p:nvPr/>
          </p:nvSpPr>
          <p:spPr>
            <a:xfrm>
              <a:off x="6011399" y="5224547"/>
              <a:ext cx="155026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Registration opens for &gt;50 years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47" name="Straight Arrow Connector 158">
            <a:extLst>
              <a:ext uri="{FF2B5EF4-FFF2-40B4-BE49-F238E27FC236}">
                <a16:creationId xmlns:a16="http://schemas.microsoft.com/office/drawing/2014/main" xmlns="" id="{45A1475C-4B61-41CF-93D4-BA8EABDD1719}"/>
              </a:ext>
            </a:extLst>
          </p:cNvPr>
          <p:cNvCxnSpPr>
            <a:cxnSpLocks/>
          </p:cNvCxnSpPr>
          <p:nvPr/>
        </p:nvCxnSpPr>
        <p:spPr>
          <a:xfrm flipH="1" flipV="1">
            <a:off x="7290205" y="2941709"/>
            <a:ext cx="2288" cy="1371600"/>
          </a:xfrm>
          <a:prstGeom prst="straightConnector1">
            <a:avLst/>
          </a:prstGeom>
          <a:ln w="25400">
            <a:solidFill>
              <a:schemeClr val="accent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313D44CC-99FC-4A46-951C-1DC82F95368F}"/>
              </a:ext>
            </a:extLst>
          </p:cNvPr>
          <p:cNvSpPr txBox="1"/>
          <p:nvPr/>
        </p:nvSpPr>
        <p:spPr>
          <a:xfrm>
            <a:off x="8193161" y="1894900"/>
            <a:ext cx="93267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14 July 2021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5B1A51A1-7F04-414E-A9B9-B9E94D199149}"/>
              </a:ext>
            </a:extLst>
          </p:cNvPr>
          <p:cNvSpPr txBox="1"/>
          <p:nvPr/>
        </p:nvSpPr>
        <p:spPr>
          <a:xfrm>
            <a:off x="6825010" y="1894900"/>
            <a:ext cx="93267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01 July 2021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8D52A24E-8F0B-4937-A1FD-5F4BC2597BE8}"/>
              </a:ext>
            </a:extLst>
          </p:cNvPr>
          <p:cNvSpPr txBox="1"/>
          <p:nvPr/>
        </p:nvSpPr>
        <p:spPr>
          <a:xfrm>
            <a:off x="5248812" y="1894900"/>
            <a:ext cx="1140757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23 June 2021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00F40C62-EBD6-4A07-A614-91ED63ADD8EA}"/>
              </a:ext>
            </a:extLst>
          </p:cNvPr>
          <p:cNvSpPr txBox="1"/>
          <p:nvPr/>
        </p:nvSpPr>
        <p:spPr>
          <a:xfrm>
            <a:off x="3872682" y="1894900"/>
            <a:ext cx="93267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17 May 2021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428DB542-7360-46E1-A735-AA93FF8B246C}"/>
              </a:ext>
            </a:extLst>
          </p:cNvPr>
          <p:cNvSpPr txBox="1"/>
          <p:nvPr/>
        </p:nvSpPr>
        <p:spPr>
          <a:xfrm>
            <a:off x="2576541" y="1894900"/>
            <a:ext cx="93267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16 May 2021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C885818B-5FA5-46AC-9687-B7859DFFAD47}"/>
              </a:ext>
            </a:extLst>
          </p:cNvPr>
          <p:cNvSpPr txBox="1"/>
          <p:nvPr/>
        </p:nvSpPr>
        <p:spPr>
          <a:xfrm>
            <a:off x="1424410" y="1894900"/>
            <a:ext cx="93267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16 April  2021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54" name="Block Arc 25">
            <a:extLst>
              <a:ext uri="{FF2B5EF4-FFF2-40B4-BE49-F238E27FC236}">
                <a16:creationId xmlns:a16="http://schemas.microsoft.com/office/drawing/2014/main" xmlns="" id="{8E722BA0-0A79-48D3-8B68-776C0E1B944D}"/>
              </a:ext>
            </a:extLst>
          </p:cNvPr>
          <p:cNvSpPr/>
          <p:nvPr/>
        </p:nvSpPr>
        <p:spPr>
          <a:xfrm>
            <a:off x="2920183" y="3389859"/>
            <a:ext cx="245394" cy="354521"/>
          </a:xfrm>
          <a:custGeom>
            <a:avLst/>
            <a:gdLst/>
            <a:ahLst/>
            <a:cxnLst/>
            <a:rect l="l" t="t" r="r" b="b"/>
            <a:pathLst>
              <a:path w="2215656" h="3200962">
                <a:moveTo>
                  <a:pt x="1107829" y="2097026"/>
                </a:moveTo>
                <a:cubicBezTo>
                  <a:pt x="1025315" y="2097026"/>
                  <a:pt x="958423" y="2163918"/>
                  <a:pt x="958423" y="2246432"/>
                </a:cubicBezTo>
                <a:cubicBezTo>
                  <a:pt x="958423" y="2302715"/>
                  <a:pt x="989546" y="2351730"/>
                  <a:pt x="1036590" y="2375275"/>
                </a:cubicBezTo>
                <a:lnTo>
                  <a:pt x="985422" y="2684898"/>
                </a:lnTo>
                <a:lnTo>
                  <a:pt x="1230236" y="2684898"/>
                </a:lnTo>
                <a:lnTo>
                  <a:pt x="1179068" y="2375275"/>
                </a:lnTo>
                <a:cubicBezTo>
                  <a:pt x="1226112" y="2351730"/>
                  <a:pt x="1257234" y="2302715"/>
                  <a:pt x="1257234" y="2246432"/>
                </a:cubicBezTo>
                <a:cubicBezTo>
                  <a:pt x="1257234" y="2163918"/>
                  <a:pt x="1190343" y="2097026"/>
                  <a:pt x="1107829" y="2097026"/>
                </a:cubicBezTo>
                <a:close/>
                <a:moveTo>
                  <a:pt x="1102513" y="266871"/>
                </a:moveTo>
                <a:cubicBezTo>
                  <a:pt x="874876" y="269781"/>
                  <a:pt x="691868" y="455143"/>
                  <a:pt x="691868" y="682798"/>
                </a:cubicBezTo>
                <a:lnTo>
                  <a:pt x="690469" y="682798"/>
                </a:lnTo>
                <a:lnTo>
                  <a:pt x="690469" y="1580962"/>
                </a:lnTo>
                <a:lnTo>
                  <a:pt x="1525188" y="1580962"/>
                </a:lnTo>
                <a:lnTo>
                  <a:pt x="1525188" y="672127"/>
                </a:lnTo>
                <a:lnTo>
                  <a:pt x="1523654" y="672166"/>
                </a:lnTo>
                <a:cubicBezTo>
                  <a:pt x="1517835" y="444585"/>
                  <a:pt x="1330149" y="263961"/>
                  <a:pt x="1102513" y="266871"/>
                </a:cubicBezTo>
                <a:close/>
                <a:moveTo>
                  <a:pt x="1099102" y="56"/>
                </a:moveTo>
                <a:cubicBezTo>
                  <a:pt x="1472767" y="-4720"/>
                  <a:pt x="1780852" y="291773"/>
                  <a:pt x="1790404" y="665346"/>
                </a:cubicBezTo>
                <a:lnTo>
                  <a:pt x="1742843" y="666562"/>
                </a:lnTo>
                <a:lnTo>
                  <a:pt x="1790627" y="666562"/>
                </a:lnTo>
                <a:lnTo>
                  <a:pt x="1790627" y="1580962"/>
                </a:lnTo>
                <a:lnTo>
                  <a:pt x="2041344" y="1580962"/>
                </a:lnTo>
                <a:cubicBezTo>
                  <a:pt x="2137614" y="1580962"/>
                  <a:pt x="2215656" y="1659004"/>
                  <a:pt x="2215656" y="1755274"/>
                </a:cubicBezTo>
                <a:lnTo>
                  <a:pt x="2215656" y="3026650"/>
                </a:lnTo>
                <a:cubicBezTo>
                  <a:pt x="2215656" y="3122920"/>
                  <a:pt x="2137614" y="3200962"/>
                  <a:pt x="2041344" y="3200962"/>
                </a:cubicBezTo>
                <a:lnTo>
                  <a:pt x="174312" y="3200962"/>
                </a:lnTo>
                <a:cubicBezTo>
                  <a:pt x="78042" y="3200962"/>
                  <a:pt x="0" y="3122920"/>
                  <a:pt x="0" y="3026650"/>
                </a:cubicBezTo>
                <a:lnTo>
                  <a:pt x="0" y="1755274"/>
                </a:lnTo>
                <a:cubicBezTo>
                  <a:pt x="0" y="1659004"/>
                  <a:pt x="78042" y="1580962"/>
                  <a:pt x="174312" y="1580962"/>
                </a:cubicBezTo>
                <a:lnTo>
                  <a:pt x="425030" y="1580962"/>
                </a:lnTo>
                <a:lnTo>
                  <a:pt x="425030" y="676764"/>
                </a:lnTo>
                <a:lnTo>
                  <a:pt x="425634" y="676764"/>
                </a:lnTo>
                <a:cubicBezTo>
                  <a:pt x="428273" y="305830"/>
                  <a:pt x="727452" y="4806"/>
                  <a:pt x="1099102" y="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5" name="Oval 113">
            <a:extLst>
              <a:ext uri="{FF2B5EF4-FFF2-40B4-BE49-F238E27FC236}">
                <a16:creationId xmlns:a16="http://schemas.microsoft.com/office/drawing/2014/main" xmlns="" id="{327B9F25-C2A7-4729-83E7-1628194FF638}"/>
              </a:ext>
            </a:extLst>
          </p:cNvPr>
          <p:cNvSpPr/>
          <p:nvPr/>
        </p:nvSpPr>
        <p:spPr>
          <a:xfrm>
            <a:off x="358521" y="3235606"/>
            <a:ext cx="684000" cy="684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56" name="Group 5">
            <a:extLst>
              <a:ext uri="{FF2B5EF4-FFF2-40B4-BE49-F238E27FC236}">
                <a16:creationId xmlns:a16="http://schemas.microsoft.com/office/drawing/2014/main" xmlns="" id="{322DD412-63E4-404B-ADFA-5AE2BA99B1AD}"/>
              </a:ext>
            </a:extLst>
          </p:cNvPr>
          <p:cNvGrpSpPr/>
          <p:nvPr/>
        </p:nvGrpSpPr>
        <p:grpSpPr>
          <a:xfrm>
            <a:off x="-74611" y="3854742"/>
            <a:ext cx="1550267" cy="1131452"/>
            <a:chOff x="2676933" y="3240394"/>
            <a:chExt cx="1550267" cy="1131452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6EDD0CB7-1D18-4900-BC39-46F541D9E7A6}"/>
                </a:ext>
              </a:extLst>
            </p:cNvPr>
            <p:cNvSpPr txBox="1"/>
            <p:nvPr/>
          </p:nvSpPr>
          <p:spPr>
            <a:xfrm>
              <a:off x="2676933" y="3240394"/>
              <a:ext cx="1550267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Sisonke </a:t>
              </a:r>
              <a:r>
                <a:rPr kumimoji="0" lang="en-US" altLang="ko-K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Programme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xmlns="" id="{08EEC69C-2721-4396-A788-94C4FF0DE965}"/>
                </a:ext>
              </a:extLst>
            </p:cNvPr>
            <p:cNvSpPr txBox="1"/>
            <p:nvPr/>
          </p:nvSpPr>
          <p:spPr>
            <a:xfrm>
              <a:off x="2676933" y="3725515"/>
              <a:ext cx="155026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Rollout for Healthcare Workers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59" name="Straight Arrow Connector 115">
            <a:extLst>
              <a:ext uri="{FF2B5EF4-FFF2-40B4-BE49-F238E27FC236}">
                <a16:creationId xmlns:a16="http://schemas.microsoft.com/office/drawing/2014/main" xmlns="" id="{9320265B-3249-4264-8E8E-BADAFE4D158F}"/>
              </a:ext>
            </a:extLst>
          </p:cNvPr>
          <p:cNvCxnSpPr>
            <a:cxnSpLocks/>
          </p:cNvCxnSpPr>
          <p:nvPr/>
        </p:nvCxnSpPr>
        <p:spPr>
          <a:xfrm flipV="1">
            <a:off x="700521" y="2941709"/>
            <a:ext cx="0" cy="293898"/>
          </a:xfrm>
          <a:prstGeom prst="straightConnector1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0EA9919A-CB6D-4517-B286-38D40C83CA34}"/>
              </a:ext>
            </a:extLst>
          </p:cNvPr>
          <p:cNvSpPr txBox="1"/>
          <p:nvPr/>
        </p:nvSpPr>
        <p:spPr>
          <a:xfrm>
            <a:off x="254127" y="1894901"/>
            <a:ext cx="93267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17 Feb 2021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61" name="Rounded Rectangle 7">
            <a:extLst>
              <a:ext uri="{FF2B5EF4-FFF2-40B4-BE49-F238E27FC236}">
                <a16:creationId xmlns:a16="http://schemas.microsoft.com/office/drawing/2014/main" xmlns="" id="{3C9E734D-0B08-491A-B0CC-BE5303030F7C}"/>
              </a:ext>
            </a:extLst>
          </p:cNvPr>
          <p:cNvSpPr>
            <a:spLocks noChangeAspect="1"/>
          </p:cNvSpPr>
          <p:nvPr/>
        </p:nvSpPr>
        <p:spPr>
          <a:xfrm rot="18924894" flipH="1">
            <a:off x="612762" y="3271887"/>
            <a:ext cx="162556" cy="635774"/>
          </a:xfrm>
          <a:custGeom>
            <a:avLst/>
            <a:gdLst/>
            <a:ahLst/>
            <a:cxnLst/>
            <a:rect l="l" t="t" r="r" b="b"/>
            <a:pathLst>
              <a:path w="1081111" h="4228323">
                <a:moveTo>
                  <a:pt x="335224" y="1867922"/>
                </a:moveTo>
                <a:cubicBezTo>
                  <a:pt x="355105" y="1839562"/>
                  <a:pt x="441066" y="1818228"/>
                  <a:pt x="544096" y="1818228"/>
                </a:cubicBezTo>
                <a:cubicBezTo>
                  <a:pt x="661845" y="1818228"/>
                  <a:pt x="757300" y="1846093"/>
                  <a:pt x="757300" y="1880465"/>
                </a:cubicBezTo>
                <a:lnTo>
                  <a:pt x="754850" y="1887560"/>
                </a:lnTo>
                <a:lnTo>
                  <a:pt x="757869" y="1887560"/>
                </a:lnTo>
                <a:lnTo>
                  <a:pt x="757869" y="2839818"/>
                </a:lnTo>
                <a:cubicBezTo>
                  <a:pt x="757869" y="2972331"/>
                  <a:pt x="662287" y="3079754"/>
                  <a:pt x="544381" y="3079754"/>
                </a:cubicBezTo>
                <a:cubicBezTo>
                  <a:pt x="426475" y="3079754"/>
                  <a:pt x="330892" y="2972330"/>
                  <a:pt x="330892" y="2839818"/>
                </a:cubicBezTo>
                <a:cubicBezTo>
                  <a:pt x="330892" y="2522399"/>
                  <a:pt x="330893" y="2204979"/>
                  <a:pt x="330893" y="1887560"/>
                </a:cubicBezTo>
                <a:lnTo>
                  <a:pt x="333343" y="1887560"/>
                </a:lnTo>
                <a:cubicBezTo>
                  <a:pt x="331423" y="1885549"/>
                  <a:pt x="330893" y="1883025"/>
                  <a:pt x="330893" y="1880465"/>
                </a:cubicBezTo>
                <a:cubicBezTo>
                  <a:pt x="330893" y="1876168"/>
                  <a:pt x="332384" y="1871973"/>
                  <a:pt x="335224" y="1867922"/>
                </a:cubicBezTo>
                <a:close/>
                <a:moveTo>
                  <a:pt x="40017" y="122059"/>
                </a:moveTo>
                <a:cubicBezTo>
                  <a:pt x="33211" y="132011"/>
                  <a:pt x="29637" y="142314"/>
                  <a:pt x="29637" y="152868"/>
                </a:cubicBezTo>
                <a:cubicBezTo>
                  <a:pt x="29637" y="201406"/>
                  <a:pt x="105246" y="244661"/>
                  <a:pt x="223474" y="271871"/>
                </a:cubicBezTo>
                <a:lnTo>
                  <a:pt x="259635" y="468058"/>
                </a:lnTo>
                <a:cubicBezTo>
                  <a:pt x="103865" y="495856"/>
                  <a:pt x="0" y="547115"/>
                  <a:pt x="0" y="605632"/>
                </a:cubicBezTo>
                <a:cubicBezTo>
                  <a:pt x="0" y="658669"/>
                  <a:pt x="85325" y="705745"/>
                  <a:pt x="217400" y="734580"/>
                </a:cubicBezTo>
                <a:lnTo>
                  <a:pt x="217063" y="737117"/>
                </a:lnTo>
                <a:lnTo>
                  <a:pt x="217063" y="2943282"/>
                </a:lnTo>
                <a:cubicBezTo>
                  <a:pt x="217063" y="3039089"/>
                  <a:pt x="294931" y="3121078"/>
                  <a:pt x="405721" y="3153265"/>
                </a:cubicBezTo>
                <a:cubicBezTo>
                  <a:pt x="400324" y="3160310"/>
                  <a:pt x="397646" y="3168520"/>
                  <a:pt x="397646" y="3177204"/>
                </a:cubicBezTo>
                <a:lnTo>
                  <a:pt x="397646" y="3194256"/>
                </a:lnTo>
                <a:cubicBezTo>
                  <a:pt x="397646" y="3224314"/>
                  <a:pt x="429716" y="3248680"/>
                  <a:pt x="469276" y="3248680"/>
                </a:cubicBezTo>
                <a:lnTo>
                  <a:pt x="496274" y="3248680"/>
                </a:lnTo>
                <a:cubicBezTo>
                  <a:pt x="503831" y="3569617"/>
                  <a:pt x="518631" y="3867052"/>
                  <a:pt x="514761" y="4228323"/>
                </a:cubicBezTo>
                <a:lnTo>
                  <a:pt x="577573" y="4091802"/>
                </a:lnTo>
                <a:cubicBezTo>
                  <a:pt x="580481" y="3794896"/>
                  <a:pt x="583388" y="3537508"/>
                  <a:pt x="586278" y="3248680"/>
                </a:cubicBezTo>
                <a:lnTo>
                  <a:pt x="611834" y="3248680"/>
                </a:lnTo>
                <a:cubicBezTo>
                  <a:pt x="651395" y="3248680"/>
                  <a:pt x="683465" y="3224314"/>
                  <a:pt x="683465" y="3194256"/>
                </a:cubicBezTo>
                <a:lnTo>
                  <a:pt x="683465" y="3177205"/>
                </a:lnTo>
                <a:cubicBezTo>
                  <a:pt x="683465" y="3168518"/>
                  <a:pt x="680787" y="3160307"/>
                  <a:pt x="675388" y="3153262"/>
                </a:cubicBezTo>
                <a:cubicBezTo>
                  <a:pt x="786180" y="3121079"/>
                  <a:pt x="864048" y="3039089"/>
                  <a:pt x="864048" y="2943282"/>
                </a:cubicBezTo>
                <a:lnTo>
                  <a:pt x="864048" y="737117"/>
                </a:lnTo>
                <a:cubicBezTo>
                  <a:pt x="864048" y="736269"/>
                  <a:pt x="864042" y="735422"/>
                  <a:pt x="863712" y="734579"/>
                </a:cubicBezTo>
                <a:cubicBezTo>
                  <a:pt x="995786" y="705744"/>
                  <a:pt x="1081111" y="658669"/>
                  <a:pt x="1081111" y="605632"/>
                </a:cubicBezTo>
                <a:cubicBezTo>
                  <a:pt x="1081111" y="547115"/>
                  <a:pt x="977246" y="495856"/>
                  <a:pt x="821477" y="468058"/>
                </a:cubicBezTo>
                <a:lnTo>
                  <a:pt x="857637" y="271871"/>
                </a:lnTo>
                <a:cubicBezTo>
                  <a:pt x="975865" y="244661"/>
                  <a:pt x="1051474" y="201406"/>
                  <a:pt x="1051474" y="152868"/>
                </a:cubicBezTo>
                <a:cubicBezTo>
                  <a:pt x="1051474" y="68441"/>
                  <a:pt x="822728" y="0"/>
                  <a:pt x="540555" y="0"/>
                </a:cubicBezTo>
                <a:cubicBezTo>
                  <a:pt x="293654" y="0"/>
                  <a:pt x="87658" y="52400"/>
                  <a:pt x="40017" y="1220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2" name="Rounded Rectangle 7">
            <a:extLst>
              <a:ext uri="{FF2B5EF4-FFF2-40B4-BE49-F238E27FC236}">
                <a16:creationId xmlns:a16="http://schemas.microsoft.com/office/drawing/2014/main" xmlns="" id="{F56E1E4B-4DAF-4812-9E9E-1B12EF4478A5}"/>
              </a:ext>
            </a:extLst>
          </p:cNvPr>
          <p:cNvSpPr>
            <a:spLocks noChangeAspect="1"/>
          </p:cNvSpPr>
          <p:nvPr/>
        </p:nvSpPr>
        <p:spPr>
          <a:xfrm rot="18924894" flipH="1">
            <a:off x="4277337" y="4261942"/>
            <a:ext cx="162556" cy="635774"/>
          </a:xfrm>
          <a:custGeom>
            <a:avLst/>
            <a:gdLst/>
            <a:ahLst/>
            <a:cxnLst/>
            <a:rect l="l" t="t" r="r" b="b"/>
            <a:pathLst>
              <a:path w="1081111" h="4228323">
                <a:moveTo>
                  <a:pt x="335224" y="1867922"/>
                </a:moveTo>
                <a:cubicBezTo>
                  <a:pt x="355105" y="1839562"/>
                  <a:pt x="441066" y="1818228"/>
                  <a:pt x="544096" y="1818228"/>
                </a:cubicBezTo>
                <a:cubicBezTo>
                  <a:pt x="661845" y="1818228"/>
                  <a:pt x="757300" y="1846093"/>
                  <a:pt x="757300" y="1880465"/>
                </a:cubicBezTo>
                <a:lnTo>
                  <a:pt x="754850" y="1887560"/>
                </a:lnTo>
                <a:lnTo>
                  <a:pt x="757869" y="1887560"/>
                </a:lnTo>
                <a:lnTo>
                  <a:pt x="757869" y="2839818"/>
                </a:lnTo>
                <a:cubicBezTo>
                  <a:pt x="757869" y="2972331"/>
                  <a:pt x="662287" y="3079754"/>
                  <a:pt x="544381" y="3079754"/>
                </a:cubicBezTo>
                <a:cubicBezTo>
                  <a:pt x="426475" y="3079754"/>
                  <a:pt x="330892" y="2972330"/>
                  <a:pt x="330892" y="2839818"/>
                </a:cubicBezTo>
                <a:cubicBezTo>
                  <a:pt x="330892" y="2522399"/>
                  <a:pt x="330893" y="2204979"/>
                  <a:pt x="330893" y="1887560"/>
                </a:cubicBezTo>
                <a:lnTo>
                  <a:pt x="333343" y="1887560"/>
                </a:lnTo>
                <a:cubicBezTo>
                  <a:pt x="331423" y="1885549"/>
                  <a:pt x="330893" y="1883025"/>
                  <a:pt x="330893" y="1880465"/>
                </a:cubicBezTo>
                <a:cubicBezTo>
                  <a:pt x="330893" y="1876168"/>
                  <a:pt x="332384" y="1871973"/>
                  <a:pt x="335224" y="1867922"/>
                </a:cubicBezTo>
                <a:close/>
                <a:moveTo>
                  <a:pt x="40017" y="122059"/>
                </a:moveTo>
                <a:cubicBezTo>
                  <a:pt x="33211" y="132011"/>
                  <a:pt x="29637" y="142314"/>
                  <a:pt x="29637" y="152868"/>
                </a:cubicBezTo>
                <a:cubicBezTo>
                  <a:pt x="29637" y="201406"/>
                  <a:pt x="105246" y="244661"/>
                  <a:pt x="223474" y="271871"/>
                </a:cubicBezTo>
                <a:lnTo>
                  <a:pt x="259635" y="468058"/>
                </a:lnTo>
                <a:cubicBezTo>
                  <a:pt x="103865" y="495856"/>
                  <a:pt x="0" y="547115"/>
                  <a:pt x="0" y="605632"/>
                </a:cubicBezTo>
                <a:cubicBezTo>
                  <a:pt x="0" y="658669"/>
                  <a:pt x="85325" y="705745"/>
                  <a:pt x="217400" y="734580"/>
                </a:cubicBezTo>
                <a:lnTo>
                  <a:pt x="217063" y="737117"/>
                </a:lnTo>
                <a:lnTo>
                  <a:pt x="217063" y="2943282"/>
                </a:lnTo>
                <a:cubicBezTo>
                  <a:pt x="217063" y="3039089"/>
                  <a:pt x="294931" y="3121078"/>
                  <a:pt x="405721" y="3153265"/>
                </a:cubicBezTo>
                <a:cubicBezTo>
                  <a:pt x="400324" y="3160310"/>
                  <a:pt x="397646" y="3168520"/>
                  <a:pt x="397646" y="3177204"/>
                </a:cubicBezTo>
                <a:lnTo>
                  <a:pt x="397646" y="3194256"/>
                </a:lnTo>
                <a:cubicBezTo>
                  <a:pt x="397646" y="3224314"/>
                  <a:pt x="429716" y="3248680"/>
                  <a:pt x="469276" y="3248680"/>
                </a:cubicBezTo>
                <a:lnTo>
                  <a:pt x="496274" y="3248680"/>
                </a:lnTo>
                <a:cubicBezTo>
                  <a:pt x="503831" y="3569617"/>
                  <a:pt x="518631" y="3867052"/>
                  <a:pt x="514761" y="4228323"/>
                </a:cubicBezTo>
                <a:lnTo>
                  <a:pt x="577573" y="4091802"/>
                </a:lnTo>
                <a:cubicBezTo>
                  <a:pt x="580481" y="3794896"/>
                  <a:pt x="583388" y="3537508"/>
                  <a:pt x="586278" y="3248680"/>
                </a:cubicBezTo>
                <a:lnTo>
                  <a:pt x="611834" y="3248680"/>
                </a:lnTo>
                <a:cubicBezTo>
                  <a:pt x="651395" y="3248680"/>
                  <a:pt x="683465" y="3224314"/>
                  <a:pt x="683465" y="3194256"/>
                </a:cubicBezTo>
                <a:lnTo>
                  <a:pt x="683465" y="3177205"/>
                </a:lnTo>
                <a:cubicBezTo>
                  <a:pt x="683465" y="3168518"/>
                  <a:pt x="680787" y="3160307"/>
                  <a:pt x="675388" y="3153262"/>
                </a:cubicBezTo>
                <a:cubicBezTo>
                  <a:pt x="786180" y="3121079"/>
                  <a:pt x="864048" y="3039089"/>
                  <a:pt x="864048" y="2943282"/>
                </a:cubicBezTo>
                <a:lnTo>
                  <a:pt x="864048" y="737117"/>
                </a:lnTo>
                <a:cubicBezTo>
                  <a:pt x="864048" y="736269"/>
                  <a:pt x="864042" y="735422"/>
                  <a:pt x="863712" y="734579"/>
                </a:cubicBezTo>
                <a:cubicBezTo>
                  <a:pt x="995786" y="705744"/>
                  <a:pt x="1081111" y="658669"/>
                  <a:pt x="1081111" y="605632"/>
                </a:cubicBezTo>
                <a:cubicBezTo>
                  <a:pt x="1081111" y="547115"/>
                  <a:pt x="977246" y="495856"/>
                  <a:pt x="821477" y="468058"/>
                </a:cubicBezTo>
                <a:lnTo>
                  <a:pt x="857637" y="271871"/>
                </a:lnTo>
                <a:cubicBezTo>
                  <a:pt x="975865" y="244661"/>
                  <a:pt x="1051474" y="201406"/>
                  <a:pt x="1051474" y="152868"/>
                </a:cubicBezTo>
                <a:cubicBezTo>
                  <a:pt x="1051474" y="68441"/>
                  <a:pt x="822728" y="0"/>
                  <a:pt x="540555" y="0"/>
                </a:cubicBezTo>
                <a:cubicBezTo>
                  <a:pt x="293654" y="0"/>
                  <a:pt x="87658" y="52400"/>
                  <a:pt x="40017" y="1220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3" name="Rectangle 30">
            <a:extLst>
              <a:ext uri="{FF2B5EF4-FFF2-40B4-BE49-F238E27FC236}">
                <a16:creationId xmlns:a16="http://schemas.microsoft.com/office/drawing/2014/main" xmlns="" id="{6E46AF56-3B66-4DDD-B505-1B2AC8F71098}"/>
              </a:ext>
            </a:extLst>
          </p:cNvPr>
          <p:cNvSpPr/>
          <p:nvPr/>
        </p:nvSpPr>
        <p:spPr>
          <a:xfrm>
            <a:off x="1650528" y="4348261"/>
            <a:ext cx="464493" cy="463135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4" name="Rectangle 30">
            <a:extLst>
              <a:ext uri="{FF2B5EF4-FFF2-40B4-BE49-F238E27FC236}">
                <a16:creationId xmlns:a16="http://schemas.microsoft.com/office/drawing/2014/main" xmlns="" id="{809222C3-3810-4E24-9ACC-AD058170B6BC}"/>
              </a:ext>
            </a:extLst>
          </p:cNvPr>
          <p:cNvSpPr/>
          <p:nvPr/>
        </p:nvSpPr>
        <p:spPr>
          <a:xfrm>
            <a:off x="7074364" y="4345207"/>
            <a:ext cx="464493" cy="463135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5" name="Parallelogram 15">
            <a:extLst>
              <a:ext uri="{FF2B5EF4-FFF2-40B4-BE49-F238E27FC236}">
                <a16:creationId xmlns:a16="http://schemas.microsoft.com/office/drawing/2014/main" xmlns="" id="{87A0E9D3-4A3C-4EB6-B901-E21F0E3C1417}"/>
              </a:ext>
            </a:extLst>
          </p:cNvPr>
          <p:cNvSpPr/>
          <p:nvPr/>
        </p:nvSpPr>
        <p:spPr>
          <a:xfrm rot="16200000">
            <a:off x="5397840" y="3231289"/>
            <a:ext cx="598764" cy="648141"/>
          </a:xfrm>
          <a:custGeom>
            <a:avLst/>
            <a:gdLst/>
            <a:ahLst/>
            <a:cxnLst/>
            <a:rect l="l" t="t" r="r" b="b"/>
            <a:pathLst>
              <a:path w="2993176" h="3240001">
                <a:moveTo>
                  <a:pt x="1299907" y="647892"/>
                </a:moveTo>
                <a:lnTo>
                  <a:pt x="665509" y="1620000"/>
                </a:lnTo>
                <a:lnTo>
                  <a:pt x="1299907" y="2592108"/>
                </a:lnTo>
                <a:lnTo>
                  <a:pt x="634398" y="2592108"/>
                </a:lnTo>
                <a:lnTo>
                  <a:pt x="0" y="1620000"/>
                </a:lnTo>
                <a:lnTo>
                  <a:pt x="634398" y="647892"/>
                </a:lnTo>
                <a:close/>
                <a:moveTo>
                  <a:pt x="2993176" y="1620001"/>
                </a:moveTo>
                <a:lnTo>
                  <a:pt x="1913056" y="3240001"/>
                </a:lnTo>
                <a:lnTo>
                  <a:pt x="1782206" y="3043749"/>
                </a:lnTo>
                <a:lnTo>
                  <a:pt x="1110064" y="3043749"/>
                </a:lnTo>
                <a:cubicBezTo>
                  <a:pt x="1089036" y="3096599"/>
                  <a:pt x="1037333" y="3133759"/>
                  <a:pt x="976952" y="3133759"/>
                </a:cubicBezTo>
                <a:cubicBezTo>
                  <a:pt x="923853" y="3133759"/>
                  <a:pt x="877466" y="3105022"/>
                  <a:pt x="854540" y="3061058"/>
                </a:cubicBezTo>
                <a:lnTo>
                  <a:pt x="302383" y="3169763"/>
                </a:lnTo>
                <a:lnTo>
                  <a:pt x="302383" y="2809723"/>
                </a:lnTo>
                <a:lnTo>
                  <a:pt x="854540" y="2918427"/>
                </a:lnTo>
                <a:cubicBezTo>
                  <a:pt x="877466" y="2874463"/>
                  <a:pt x="923853" y="2845727"/>
                  <a:pt x="976952" y="2845727"/>
                </a:cubicBezTo>
                <a:cubicBezTo>
                  <a:pt x="1037333" y="2845727"/>
                  <a:pt x="1089036" y="2882887"/>
                  <a:pt x="1110064" y="2935737"/>
                </a:cubicBezTo>
                <a:lnTo>
                  <a:pt x="1710190" y="2935737"/>
                </a:lnTo>
                <a:lnTo>
                  <a:pt x="832936" y="1620001"/>
                </a:lnTo>
                <a:lnTo>
                  <a:pt x="191305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6" name="Rounded Rectangle 7">
            <a:extLst>
              <a:ext uri="{FF2B5EF4-FFF2-40B4-BE49-F238E27FC236}">
                <a16:creationId xmlns:a16="http://schemas.microsoft.com/office/drawing/2014/main" xmlns="" id="{6F68CFC4-478A-42D8-BA3C-13E4420682EC}"/>
              </a:ext>
            </a:extLst>
          </p:cNvPr>
          <p:cNvSpPr>
            <a:spLocks noChangeAspect="1"/>
          </p:cNvSpPr>
          <p:nvPr/>
        </p:nvSpPr>
        <p:spPr>
          <a:xfrm rot="18924894" flipH="1">
            <a:off x="8595644" y="3238543"/>
            <a:ext cx="162556" cy="635774"/>
          </a:xfrm>
          <a:custGeom>
            <a:avLst/>
            <a:gdLst/>
            <a:ahLst/>
            <a:cxnLst/>
            <a:rect l="l" t="t" r="r" b="b"/>
            <a:pathLst>
              <a:path w="1081111" h="4228323">
                <a:moveTo>
                  <a:pt x="335224" y="1867922"/>
                </a:moveTo>
                <a:cubicBezTo>
                  <a:pt x="355105" y="1839562"/>
                  <a:pt x="441066" y="1818228"/>
                  <a:pt x="544096" y="1818228"/>
                </a:cubicBezTo>
                <a:cubicBezTo>
                  <a:pt x="661845" y="1818228"/>
                  <a:pt x="757300" y="1846093"/>
                  <a:pt x="757300" y="1880465"/>
                </a:cubicBezTo>
                <a:lnTo>
                  <a:pt x="754850" y="1887560"/>
                </a:lnTo>
                <a:lnTo>
                  <a:pt x="757869" y="1887560"/>
                </a:lnTo>
                <a:lnTo>
                  <a:pt x="757869" y="2839818"/>
                </a:lnTo>
                <a:cubicBezTo>
                  <a:pt x="757869" y="2972331"/>
                  <a:pt x="662287" y="3079754"/>
                  <a:pt x="544381" y="3079754"/>
                </a:cubicBezTo>
                <a:cubicBezTo>
                  <a:pt x="426475" y="3079754"/>
                  <a:pt x="330892" y="2972330"/>
                  <a:pt x="330892" y="2839818"/>
                </a:cubicBezTo>
                <a:cubicBezTo>
                  <a:pt x="330892" y="2522399"/>
                  <a:pt x="330893" y="2204979"/>
                  <a:pt x="330893" y="1887560"/>
                </a:cubicBezTo>
                <a:lnTo>
                  <a:pt x="333343" y="1887560"/>
                </a:lnTo>
                <a:cubicBezTo>
                  <a:pt x="331423" y="1885549"/>
                  <a:pt x="330893" y="1883025"/>
                  <a:pt x="330893" y="1880465"/>
                </a:cubicBezTo>
                <a:cubicBezTo>
                  <a:pt x="330893" y="1876168"/>
                  <a:pt x="332384" y="1871973"/>
                  <a:pt x="335224" y="1867922"/>
                </a:cubicBezTo>
                <a:close/>
                <a:moveTo>
                  <a:pt x="40017" y="122059"/>
                </a:moveTo>
                <a:cubicBezTo>
                  <a:pt x="33211" y="132011"/>
                  <a:pt x="29637" y="142314"/>
                  <a:pt x="29637" y="152868"/>
                </a:cubicBezTo>
                <a:cubicBezTo>
                  <a:pt x="29637" y="201406"/>
                  <a:pt x="105246" y="244661"/>
                  <a:pt x="223474" y="271871"/>
                </a:cubicBezTo>
                <a:lnTo>
                  <a:pt x="259635" y="468058"/>
                </a:lnTo>
                <a:cubicBezTo>
                  <a:pt x="103865" y="495856"/>
                  <a:pt x="0" y="547115"/>
                  <a:pt x="0" y="605632"/>
                </a:cubicBezTo>
                <a:cubicBezTo>
                  <a:pt x="0" y="658669"/>
                  <a:pt x="85325" y="705745"/>
                  <a:pt x="217400" y="734580"/>
                </a:cubicBezTo>
                <a:lnTo>
                  <a:pt x="217063" y="737117"/>
                </a:lnTo>
                <a:lnTo>
                  <a:pt x="217063" y="2943282"/>
                </a:lnTo>
                <a:cubicBezTo>
                  <a:pt x="217063" y="3039089"/>
                  <a:pt x="294931" y="3121078"/>
                  <a:pt x="405721" y="3153265"/>
                </a:cubicBezTo>
                <a:cubicBezTo>
                  <a:pt x="400324" y="3160310"/>
                  <a:pt x="397646" y="3168520"/>
                  <a:pt x="397646" y="3177204"/>
                </a:cubicBezTo>
                <a:lnTo>
                  <a:pt x="397646" y="3194256"/>
                </a:lnTo>
                <a:cubicBezTo>
                  <a:pt x="397646" y="3224314"/>
                  <a:pt x="429716" y="3248680"/>
                  <a:pt x="469276" y="3248680"/>
                </a:cubicBezTo>
                <a:lnTo>
                  <a:pt x="496274" y="3248680"/>
                </a:lnTo>
                <a:cubicBezTo>
                  <a:pt x="503831" y="3569617"/>
                  <a:pt x="518631" y="3867052"/>
                  <a:pt x="514761" y="4228323"/>
                </a:cubicBezTo>
                <a:lnTo>
                  <a:pt x="577573" y="4091802"/>
                </a:lnTo>
                <a:cubicBezTo>
                  <a:pt x="580481" y="3794896"/>
                  <a:pt x="583388" y="3537508"/>
                  <a:pt x="586278" y="3248680"/>
                </a:cubicBezTo>
                <a:lnTo>
                  <a:pt x="611834" y="3248680"/>
                </a:lnTo>
                <a:cubicBezTo>
                  <a:pt x="651395" y="3248680"/>
                  <a:pt x="683465" y="3224314"/>
                  <a:pt x="683465" y="3194256"/>
                </a:cubicBezTo>
                <a:lnTo>
                  <a:pt x="683465" y="3177205"/>
                </a:lnTo>
                <a:cubicBezTo>
                  <a:pt x="683465" y="3168518"/>
                  <a:pt x="680787" y="3160307"/>
                  <a:pt x="675388" y="3153262"/>
                </a:cubicBezTo>
                <a:cubicBezTo>
                  <a:pt x="786180" y="3121079"/>
                  <a:pt x="864048" y="3039089"/>
                  <a:pt x="864048" y="2943282"/>
                </a:cubicBezTo>
                <a:lnTo>
                  <a:pt x="864048" y="737117"/>
                </a:lnTo>
                <a:cubicBezTo>
                  <a:pt x="864048" y="736269"/>
                  <a:pt x="864042" y="735422"/>
                  <a:pt x="863712" y="734579"/>
                </a:cubicBezTo>
                <a:cubicBezTo>
                  <a:pt x="995786" y="705744"/>
                  <a:pt x="1081111" y="658669"/>
                  <a:pt x="1081111" y="605632"/>
                </a:cubicBezTo>
                <a:cubicBezTo>
                  <a:pt x="1081111" y="547115"/>
                  <a:pt x="977246" y="495856"/>
                  <a:pt x="821477" y="468058"/>
                </a:cubicBezTo>
                <a:lnTo>
                  <a:pt x="857637" y="271871"/>
                </a:lnTo>
                <a:cubicBezTo>
                  <a:pt x="975865" y="244661"/>
                  <a:pt x="1051474" y="201406"/>
                  <a:pt x="1051474" y="152868"/>
                </a:cubicBezTo>
                <a:cubicBezTo>
                  <a:pt x="1051474" y="68441"/>
                  <a:pt x="822728" y="0"/>
                  <a:pt x="540555" y="0"/>
                </a:cubicBezTo>
                <a:cubicBezTo>
                  <a:pt x="293654" y="0"/>
                  <a:pt x="87658" y="52400"/>
                  <a:pt x="40017" y="12205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xmlns="" id="{F7382EFD-71C8-4966-A09D-B4B26AD24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stern Cape Timeline to date</a:t>
            </a:r>
          </a:p>
        </p:txBody>
      </p:sp>
      <p:sp>
        <p:nvSpPr>
          <p:cNvPr id="68" name="Oval 12">
            <a:extLst>
              <a:ext uri="{FF2B5EF4-FFF2-40B4-BE49-F238E27FC236}">
                <a16:creationId xmlns:a16="http://schemas.microsoft.com/office/drawing/2014/main" xmlns="" id="{0768DAB9-FC57-40EF-86F7-46E4273BA584}"/>
              </a:ext>
            </a:extLst>
          </p:cNvPr>
          <p:cNvSpPr/>
          <p:nvPr/>
        </p:nvSpPr>
        <p:spPr>
          <a:xfrm>
            <a:off x="539552" y="2555960"/>
            <a:ext cx="288000" cy="28803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9" name="Oval 12">
            <a:extLst>
              <a:ext uri="{FF2B5EF4-FFF2-40B4-BE49-F238E27FC236}">
                <a16:creationId xmlns:a16="http://schemas.microsoft.com/office/drawing/2014/main" xmlns="" id="{0768DAB9-FC57-40EF-86F7-46E4273BA584}"/>
              </a:ext>
            </a:extLst>
          </p:cNvPr>
          <p:cNvSpPr/>
          <p:nvPr/>
        </p:nvSpPr>
        <p:spPr>
          <a:xfrm>
            <a:off x="8478560" y="2549961"/>
            <a:ext cx="288000" cy="28803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89534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0EC4F6B-AF9F-40AE-972E-4ECDF01C38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75240" y="6381328"/>
            <a:ext cx="514400" cy="230832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8F46701F-50CC-4C74-A7D0-CFE155B29B91}"/>
              </a:ext>
            </a:extLst>
          </p:cNvPr>
          <p:cNvSpPr/>
          <p:nvPr/>
        </p:nvSpPr>
        <p:spPr>
          <a:xfrm>
            <a:off x="625315" y="2078361"/>
            <a:ext cx="8031895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78EA6B1-2C4D-4C20-97F6-DF4A709F547C}"/>
              </a:ext>
            </a:extLst>
          </p:cNvPr>
          <p:cNvSpPr/>
          <p:nvPr/>
        </p:nvSpPr>
        <p:spPr>
          <a:xfrm>
            <a:off x="625315" y="2450685"/>
            <a:ext cx="8008193" cy="457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Oval 7">
            <a:extLst>
              <a:ext uri="{FF2B5EF4-FFF2-40B4-BE49-F238E27FC236}">
                <a16:creationId xmlns:a16="http://schemas.microsoft.com/office/drawing/2014/main" xmlns="" id="{27956342-EADC-487A-AD4F-7C4727B551DD}"/>
              </a:ext>
            </a:extLst>
          </p:cNvPr>
          <p:cNvSpPr/>
          <p:nvPr/>
        </p:nvSpPr>
        <p:spPr>
          <a:xfrm>
            <a:off x="3092966" y="2144728"/>
            <a:ext cx="288000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Oval 9">
            <a:extLst>
              <a:ext uri="{FF2B5EF4-FFF2-40B4-BE49-F238E27FC236}">
                <a16:creationId xmlns:a16="http://schemas.microsoft.com/office/drawing/2014/main" xmlns="" id="{A8F9E14A-27A3-4A89-824A-FFC7BC3B2207}"/>
              </a:ext>
            </a:extLst>
          </p:cNvPr>
          <p:cNvSpPr/>
          <p:nvPr/>
        </p:nvSpPr>
        <p:spPr>
          <a:xfrm>
            <a:off x="7613306" y="2128963"/>
            <a:ext cx="288000" cy="28803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Oval 13">
            <a:extLst>
              <a:ext uri="{FF2B5EF4-FFF2-40B4-BE49-F238E27FC236}">
                <a16:creationId xmlns:a16="http://schemas.microsoft.com/office/drawing/2014/main" xmlns="" id="{B111346C-8CD6-4FA0-B229-9CDBB109FC0B}"/>
              </a:ext>
            </a:extLst>
          </p:cNvPr>
          <p:cNvSpPr/>
          <p:nvPr/>
        </p:nvSpPr>
        <p:spPr>
          <a:xfrm>
            <a:off x="5490765" y="2139786"/>
            <a:ext cx="288000" cy="2880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Oval 113">
            <a:extLst>
              <a:ext uri="{FF2B5EF4-FFF2-40B4-BE49-F238E27FC236}">
                <a16:creationId xmlns:a16="http://schemas.microsoft.com/office/drawing/2014/main" xmlns="" id="{1D7B07CE-5AC8-4202-8FB1-E691F6F78F88}"/>
              </a:ext>
            </a:extLst>
          </p:cNvPr>
          <p:cNvSpPr/>
          <p:nvPr/>
        </p:nvSpPr>
        <p:spPr>
          <a:xfrm>
            <a:off x="5310821" y="2836314"/>
            <a:ext cx="684000" cy="68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21" name="Group 5">
            <a:extLst>
              <a:ext uri="{FF2B5EF4-FFF2-40B4-BE49-F238E27FC236}">
                <a16:creationId xmlns:a16="http://schemas.microsoft.com/office/drawing/2014/main" xmlns="" id="{37F1B6CD-B5FC-4533-992A-AF3396B7E6F9}"/>
              </a:ext>
            </a:extLst>
          </p:cNvPr>
          <p:cNvGrpSpPr/>
          <p:nvPr/>
        </p:nvGrpSpPr>
        <p:grpSpPr>
          <a:xfrm>
            <a:off x="4914701" y="3452232"/>
            <a:ext cx="1550270" cy="2258614"/>
            <a:chOff x="2676930" y="3237180"/>
            <a:chExt cx="1550270" cy="1659403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36950CB9-F754-4923-8E57-5ED1370F7D94}"/>
                </a:ext>
              </a:extLst>
            </p:cNvPr>
            <p:cNvSpPr txBox="1"/>
            <p:nvPr/>
          </p:nvSpPr>
          <p:spPr>
            <a:xfrm>
              <a:off x="2676933" y="3237180"/>
              <a:ext cx="1550267" cy="7386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Social Development Sector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7C51F18D-5180-4CB1-9420-6584E65FFD9E}"/>
                </a:ext>
              </a:extLst>
            </p:cNvPr>
            <p:cNvSpPr txBox="1"/>
            <p:nvPr/>
          </p:nvSpPr>
          <p:spPr>
            <a:xfrm>
              <a:off x="2676930" y="3879028"/>
              <a:ext cx="1550267" cy="1017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NDoH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 to confirm implementation arrangements for vaccination of workers in Social Development Sector 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24" name="Straight Arrow Connector 115">
            <a:extLst>
              <a:ext uri="{FF2B5EF4-FFF2-40B4-BE49-F238E27FC236}">
                <a16:creationId xmlns:a16="http://schemas.microsoft.com/office/drawing/2014/main" xmlns="" id="{56D8C749-3B44-45F5-8CA8-66327B3EA7FA}"/>
              </a:ext>
            </a:extLst>
          </p:cNvPr>
          <p:cNvCxnSpPr>
            <a:cxnSpLocks/>
          </p:cNvCxnSpPr>
          <p:nvPr/>
        </p:nvCxnSpPr>
        <p:spPr>
          <a:xfrm flipV="1">
            <a:off x="5634781" y="2519786"/>
            <a:ext cx="0" cy="293898"/>
          </a:xfrm>
          <a:prstGeom prst="straightConnector1">
            <a:avLst/>
          </a:prstGeom>
          <a:ln w="254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150">
            <a:extLst>
              <a:ext uri="{FF2B5EF4-FFF2-40B4-BE49-F238E27FC236}">
                <a16:creationId xmlns:a16="http://schemas.microsoft.com/office/drawing/2014/main" xmlns="" id="{47321BEA-4CBE-4A07-A1E1-0F26DA007340}"/>
              </a:ext>
            </a:extLst>
          </p:cNvPr>
          <p:cNvSpPr/>
          <p:nvPr/>
        </p:nvSpPr>
        <p:spPr>
          <a:xfrm>
            <a:off x="2916902" y="3831880"/>
            <a:ext cx="684000" cy="684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42" name="Straight Arrow Connector 152">
            <a:extLst>
              <a:ext uri="{FF2B5EF4-FFF2-40B4-BE49-F238E27FC236}">
                <a16:creationId xmlns:a16="http://schemas.microsoft.com/office/drawing/2014/main" xmlns="" id="{835959B7-1A1B-4492-83F6-4C465D6D0FD7}"/>
              </a:ext>
            </a:extLst>
          </p:cNvPr>
          <p:cNvCxnSpPr>
            <a:cxnSpLocks/>
          </p:cNvCxnSpPr>
          <p:nvPr/>
        </p:nvCxnSpPr>
        <p:spPr>
          <a:xfrm flipV="1">
            <a:off x="3232888" y="2506483"/>
            <a:ext cx="10503" cy="1371600"/>
          </a:xfrm>
          <a:prstGeom prst="straightConnector1">
            <a:avLst/>
          </a:prstGeom>
          <a:ln w="254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156">
            <a:extLst>
              <a:ext uri="{FF2B5EF4-FFF2-40B4-BE49-F238E27FC236}">
                <a16:creationId xmlns:a16="http://schemas.microsoft.com/office/drawing/2014/main" xmlns="" id="{AA9733B1-FE6F-4C7D-AEA6-E9825D762648}"/>
              </a:ext>
            </a:extLst>
          </p:cNvPr>
          <p:cNvSpPr/>
          <p:nvPr/>
        </p:nvSpPr>
        <p:spPr>
          <a:xfrm>
            <a:off x="7415306" y="3828405"/>
            <a:ext cx="684000" cy="684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44" name="Group 16">
            <a:extLst>
              <a:ext uri="{FF2B5EF4-FFF2-40B4-BE49-F238E27FC236}">
                <a16:creationId xmlns:a16="http://schemas.microsoft.com/office/drawing/2014/main" xmlns="" id="{3B4B89B9-C79A-4357-ADCD-80A19E45B1A1}"/>
              </a:ext>
            </a:extLst>
          </p:cNvPr>
          <p:cNvGrpSpPr/>
          <p:nvPr/>
        </p:nvGrpSpPr>
        <p:grpSpPr>
          <a:xfrm>
            <a:off x="6982173" y="4447544"/>
            <a:ext cx="1550267" cy="938077"/>
            <a:chOff x="6011399" y="4748135"/>
            <a:chExt cx="1550267" cy="938077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446AB1B3-BE09-4349-B7EB-59C1F61E5269}"/>
                </a:ext>
              </a:extLst>
            </p:cNvPr>
            <p:cNvSpPr txBox="1"/>
            <p:nvPr/>
          </p:nvSpPr>
          <p:spPr>
            <a:xfrm>
              <a:off x="6011399" y="4748135"/>
              <a:ext cx="1550267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EVDS Registration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xmlns="" id="{BB94FE94-934C-4A3B-8199-B39CFC6466D4}"/>
                </a:ext>
              </a:extLst>
            </p:cNvPr>
            <p:cNvSpPr txBox="1"/>
            <p:nvPr/>
          </p:nvSpPr>
          <p:spPr>
            <a:xfrm>
              <a:off x="6011399" y="5224547"/>
              <a:ext cx="155026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Registration opens for &gt;18 years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47" name="Straight Arrow Connector 158">
            <a:extLst>
              <a:ext uri="{FF2B5EF4-FFF2-40B4-BE49-F238E27FC236}">
                <a16:creationId xmlns:a16="http://schemas.microsoft.com/office/drawing/2014/main" xmlns="" id="{45A1475C-4B61-41CF-93D4-BA8EABDD1719}"/>
              </a:ext>
            </a:extLst>
          </p:cNvPr>
          <p:cNvCxnSpPr>
            <a:cxnSpLocks/>
          </p:cNvCxnSpPr>
          <p:nvPr/>
        </p:nvCxnSpPr>
        <p:spPr>
          <a:xfrm flipH="1" flipV="1">
            <a:off x="7756162" y="2531594"/>
            <a:ext cx="2288" cy="1371600"/>
          </a:xfrm>
          <a:prstGeom prst="straightConnector1">
            <a:avLst/>
          </a:prstGeom>
          <a:ln w="25400">
            <a:solidFill>
              <a:schemeClr val="accent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5B1A51A1-7F04-414E-A9B9-B9E94D199149}"/>
              </a:ext>
            </a:extLst>
          </p:cNvPr>
          <p:cNvSpPr txBox="1"/>
          <p:nvPr/>
        </p:nvSpPr>
        <p:spPr>
          <a:xfrm>
            <a:off x="7290967" y="1607895"/>
            <a:ext cx="932678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tbc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00F40C62-EBD6-4A07-A614-91ED63ADD8EA}"/>
              </a:ext>
            </a:extLst>
          </p:cNvPr>
          <p:cNvSpPr txBox="1"/>
          <p:nvPr/>
        </p:nvSpPr>
        <p:spPr>
          <a:xfrm>
            <a:off x="2843808" y="1484784"/>
            <a:ext cx="93267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15 July 2021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428DB542-7360-46E1-A735-AA93FF8B246C}"/>
              </a:ext>
            </a:extLst>
          </p:cNvPr>
          <p:cNvSpPr txBox="1"/>
          <p:nvPr/>
        </p:nvSpPr>
        <p:spPr>
          <a:xfrm>
            <a:off x="4889771" y="1495609"/>
            <a:ext cx="1626445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19 July – 10 Aug 2021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(tbc)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55" name="Oval 113">
            <a:extLst>
              <a:ext uri="{FF2B5EF4-FFF2-40B4-BE49-F238E27FC236}">
                <a16:creationId xmlns:a16="http://schemas.microsoft.com/office/drawing/2014/main" xmlns="" id="{327B9F25-C2A7-4729-83E7-1628194FF638}"/>
              </a:ext>
            </a:extLst>
          </p:cNvPr>
          <p:cNvSpPr/>
          <p:nvPr/>
        </p:nvSpPr>
        <p:spPr>
          <a:xfrm>
            <a:off x="502537" y="2825491"/>
            <a:ext cx="684000" cy="684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56" name="Group 5">
            <a:extLst>
              <a:ext uri="{FF2B5EF4-FFF2-40B4-BE49-F238E27FC236}">
                <a16:creationId xmlns:a16="http://schemas.microsoft.com/office/drawing/2014/main" xmlns="" id="{322DD412-63E4-404B-ADFA-5AE2BA99B1AD}"/>
              </a:ext>
            </a:extLst>
          </p:cNvPr>
          <p:cNvGrpSpPr/>
          <p:nvPr/>
        </p:nvGrpSpPr>
        <p:grpSpPr>
          <a:xfrm>
            <a:off x="141413" y="3523522"/>
            <a:ext cx="1550267" cy="2375683"/>
            <a:chOff x="2676933" y="2917229"/>
            <a:chExt cx="1550267" cy="2375683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6EDD0CB7-1D18-4900-BC39-46F541D9E7A6}"/>
                </a:ext>
              </a:extLst>
            </p:cNvPr>
            <p:cNvSpPr txBox="1"/>
            <p:nvPr/>
          </p:nvSpPr>
          <p:spPr>
            <a:xfrm>
              <a:off x="2676933" y="2917229"/>
              <a:ext cx="1550267" cy="11695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Registr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Of DCS Staff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On EVDS via bulk upload by </a:t>
              </a:r>
              <a:r>
                <a:rPr kumimoji="0" lang="en-US" altLang="ko-K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NDoH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xmlns="" id="{08EEC69C-2721-4396-A788-94C4FF0DE965}"/>
                </a:ext>
              </a:extLst>
            </p:cNvPr>
            <p:cNvSpPr txBox="1"/>
            <p:nvPr/>
          </p:nvSpPr>
          <p:spPr>
            <a:xfrm>
              <a:off x="2676933" y="4092583"/>
              <a:ext cx="155026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DCS Staff to access vaccination at public or private sites (regardless of age)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59" name="Straight Arrow Connector 115">
            <a:extLst>
              <a:ext uri="{FF2B5EF4-FFF2-40B4-BE49-F238E27FC236}">
                <a16:creationId xmlns:a16="http://schemas.microsoft.com/office/drawing/2014/main" xmlns="" id="{9320265B-3249-4264-8E8E-BADAFE4D158F}"/>
              </a:ext>
            </a:extLst>
          </p:cNvPr>
          <p:cNvCxnSpPr>
            <a:cxnSpLocks/>
          </p:cNvCxnSpPr>
          <p:nvPr/>
        </p:nvCxnSpPr>
        <p:spPr>
          <a:xfrm flipV="1">
            <a:off x="844537" y="2531594"/>
            <a:ext cx="0" cy="293898"/>
          </a:xfrm>
          <a:prstGeom prst="straightConnector1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0EA9919A-CB6D-4517-B286-38D40C83CA34}"/>
              </a:ext>
            </a:extLst>
          </p:cNvPr>
          <p:cNvSpPr txBox="1"/>
          <p:nvPr/>
        </p:nvSpPr>
        <p:spPr>
          <a:xfrm>
            <a:off x="398143" y="1484786"/>
            <a:ext cx="93267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rPr>
              <a:t>12 July 2021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entury Gothic"/>
              <a:ea typeface="+mn-ea"/>
              <a:cs typeface="Arial" pitchFamily="34" charset="0"/>
            </a:endParaRPr>
          </a:p>
        </p:txBody>
      </p:sp>
      <p:sp>
        <p:nvSpPr>
          <p:cNvPr id="64" name="Rectangle 30">
            <a:extLst>
              <a:ext uri="{FF2B5EF4-FFF2-40B4-BE49-F238E27FC236}">
                <a16:creationId xmlns:a16="http://schemas.microsoft.com/office/drawing/2014/main" xmlns="" id="{809222C3-3810-4E24-9ACC-AD058170B6BC}"/>
              </a:ext>
            </a:extLst>
          </p:cNvPr>
          <p:cNvSpPr/>
          <p:nvPr/>
        </p:nvSpPr>
        <p:spPr>
          <a:xfrm>
            <a:off x="7540321" y="3935092"/>
            <a:ext cx="464493" cy="463135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7" name="Title 66">
            <a:extLst>
              <a:ext uri="{FF2B5EF4-FFF2-40B4-BE49-F238E27FC236}">
                <a16:creationId xmlns:a16="http://schemas.microsoft.com/office/drawing/2014/main" xmlns="" id="{F7382EFD-71C8-4966-A09D-B4B26AD240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stern Cape Timeline going forward</a:t>
            </a:r>
          </a:p>
        </p:txBody>
      </p:sp>
      <p:sp>
        <p:nvSpPr>
          <p:cNvPr id="68" name="Rectangle 30">
            <a:extLst>
              <a:ext uri="{FF2B5EF4-FFF2-40B4-BE49-F238E27FC236}">
                <a16:creationId xmlns:a16="http://schemas.microsoft.com/office/drawing/2014/main" xmlns="" id="{809222C3-3810-4E24-9ACC-AD058170B6BC}"/>
              </a:ext>
            </a:extLst>
          </p:cNvPr>
          <p:cNvSpPr/>
          <p:nvPr/>
        </p:nvSpPr>
        <p:spPr>
          <a:xfrm>
            <a:off x="611560" y="2908826"/>
            <a:ext cx="464493" cy="463135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AutoShape 2" descr="Government to launch Mandela Rules for treatment of prisoners – Department  of Correctional Service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5461115" y="2987686"/>
            <a:ext cx="383412" cy="381256"/>
            <a:chOff x="5468938" y="1920875"/>
            <a:chExt cx="282575" cy="280988"/>
          </a:xfrm>
          <a:solidFill>
            <a:schemeClr val="bg1"/>
          </a:solidFill>
        </p:grpSpPr>
        <p:sp>
          <p:nvSpPr>
            <p:cNvPr id="73" name="Freeform 87"/>
            <p:cNvSpPr>
              <a:spLocks noEditPoints="1"/>
            </p:cNvSpPr>
            <p:nvPr/>
          </p:nvSpPr>
          <p:spPr bwMode="auto">
            <a:xfrm>
              <a:off x="5468938" y="1920875"/>
              <a:ext cx="130175" cy="128588"/>
            </a:xfrm>
            <a:custGeom>
              <a:avLst/>
              <a:gdLst>
                <a:gd name="T0" fmla="*/ 32 w 407"/>
                <a:gd name="T1" fmla="*/ 364 h 406"/>
                <a:gd name="T2" fmla="*/ 46 w 407"/>
                <a:gd name="T3" fmla="*/ 346 h 406"/>
                <a:gd name="T4" fmla="*/ 166 w 407"/>
                <a:gd name="T5" fmla="*/ 271 h 406"/>
                <a:gd name="T6" fmla="*/ 205 w 407"/>
                <a:gd name="T7" fmla="*/ 278 h 406"/>
                <a:gd name="T8" fmla="*/ 241 w 407"/>
                <a:gd name="T9" fmla="*/ 272 h 406"/>
                <a:gd name="T10" fmla="*/ 363 w 407"/>
                <a:gd name="T11" fmla="*/ 346 h 406"/>
                <a:gd name="T12" fmla="*/ 374 w 407"/>
                <a:gd name="T13" fmla="*/ 364 h 406"/>
                <a:gd name="T14" fmla="*/ 202 w 407"/>
                <a:gd name="T15" fmla="*/ 376 h 406"/>
                <a:gd name="T16" fmla="*/ 106 w 407"/>
                <a:gd name="T17" fmla="*/ 136 h 406"/>
                <a:gd name="T18" fmla="*/ 164 w 407"/>
                <a:gd name="T19" fmla="*/ 141 h 406"/>
                <a:gd name="T20" fmla="*/ 221 w 407"/>
                <a:gd name="T21" fmla="*/ 119 h 406"/>
                <a:gd name="T22" fmla="*/ 243 w 407"/>
                <a:gd name="T23" fmla="*/ 135 h 406"/>
                <a:gd name="T24" fmla="*/ 269 w 407"/>
                <a:gd name="T25" fmla="*/ 143 h 406"/>
                <a:gd name="T26" fmla="*/ 304 w 407"/>
                <a:gd name="T27" fmla="*/ 141 h 406"/>
                <a:gd name="T28" fmla="*/ 296 w 407"/>
                <a:gd name="T29" fmla="*/ 183 h 406"/>
                <a:gd name="T30" fmla="*/ 275 w 407"/>
                <a:gd name="T31" fmla="*/ 216 h 406"/>
                <a:gd name="T32" fmla="*/ 244 w 407"/>
                <a:gd name="T33" fmla="*/ 240 h 406"/>
                <a:gd name="T34" fmla="*/ 205 w 407"/>
                <a:gd name="T35" fmla="*/ 248 h 406"/>
                <a:gd name="T36" fmla="*/ 166 w 407"/>
                <a:gd name="T37" fmla="*/ 240 h 406"/>
                <a:gd name="T38" fmla="*/ 135 w 407"/>
                <a:gd name="T39" fmla="*/ 216 h 406"/>
                <a:gd name="T40" fmla="*/ 114 w 407"/>
                <a:gd name="T41" fmla="*/ 181 h 406"/>
                <a:gd name="T42" fmla="*/ 106 w 407"/>
                <a:gd name="T43" fmla="*/ 139 h 406"/>
                <a:gd name="T44" fmla="*/ 230 w 407"/>
                <a:gd name="T45" fmla="*/ 33 h 406"/>
                <a:gd name="T46" fmla="*/ 260 w 407"/>
                <a:gd name="T47" fmla="*/ 48 h 406"/>
                <a:gd name="T48" fmla="*/ 282 w 407"/>
                <a:gd name="T49" fmla="*/ 71 h 406"/>
                <a:gd name="T50" fmla="*/ 298 w 407"/>
                <a:gd name="T51" fmla="*/ 102 h 406"/>
                <a:gd name="T52" fmla="*/ 281 w 407"/>
                <a:gd name="T53" fmla="*/ 114 h 406"/>
                <a:gd name="T54" fmla="*/ 250 w 407"/>
                <a:gd name="T55" fmla="*/ 105 h 406"/>
                <a:gd name="T56" fmla="*/ 235 w 407"/>
                <a:gd name="T57" fmla="*/ 87 h 406"/>
                <a:gd name="T58" fmla="*/ 223 w 407"/>
                <a:gd name="T59" fmla="*/ 82 h 406"/>
                <a:gd name="T60" fmla="*/ 208 w 407"/>
                <a:gd name="T61" fmla="*/ 92 h 406"/>
                <a:gd name="T62" fmla="*/ 181 w 407"/>
                <a:gd name="T63" fmla="*/ 107 h 406"/>
                <a:gd name="T64" fmla="*/ 147 w 407"/>
                <a:gd name="T65" fmla="*/ 113 h 406"/>
                <a:gd name="T66" fmla="*/ 114 w 407"/>
                <a:gd name="T67" fmla="*/ 97 h 406"/>
                <a:gd name="T68" fmla="*/ 130 w 407"/>
                <a:gd name="T69" fmla="*/ 68 h 406"/>
                <a:gd name="T70" fmla="*/ 152 w 407"/>
                <a:gd name="T71" fmla="*/ 47 h 406"/>
                <a:gd name="T72" fmla="*/ 181 w 407"/>
                <a:gd name="T73" fmla="*/ 33 h 406"/>
                <a:gd name="T74" fmla="*/ 239 w 407"/>
                <a:gd name="T75" fmla="*/ 406 h 406"/>
                <a:gd name="T76" fmla="*/ 403 w 407"/>
                <a:gd name="T77" fmla="*/ 354 h 406"/>
                <a:gd name="T78" fmla="*/ 380 w 407"/>
                <a:gd name="T79" fmla="*/ 321 h 406"/>
                <a:gd name="T80" fmla="*/ 271 w 407"/>
                <a:gd name="T81" fmla="*/ 258 h 406"/>
                <a:gd name="T82" fmla="*/ 297 w 407"/>
                <a:gd name="T83" fmla="*/ 236 h 406"/>
                <a:gd name="T84" fmla="*/ 324 w 407"/>
                <a:gd name="T85" fmla="*/ 192 h 406"/>
                <a:gd name="T86" fmla="*/ 333 w 407"/>
                <a:gd name="T87" fmla="*/ 157 h 406"/>
                <a:gd name="T88" fmla="*/ 332 w 407"/>
                <a:gd name="T89" fmla="*/ 111 h 406"/>
                <a:gd name="T90" fmla="*/ 312 w 407"/>
                <a:gd name="T91" fmla="*/ 61 h 406"/>
                <a:gd name="T92" fmla="*/ 277 w 407"/>
                <a:gd name="T93" fmla="*/ 23 h 406"/>
                <a:gd name="T94" fmla="*/ 231 w 407"/>
                <a:gd name="T95" fmla="*/ 3 h 406"/>
                <a:gd name="T96" fmla="*/ 179 w 407"/>
                <a:gd name="T97" fmla="*/ 3 h 406"/>
                <a:gd name="T98" fmla="*/ 133 w 407"/>
                <a:gd name="T99" fmla="*/ 23 h 406"/>
                <a:gd name="T100" fmla="*/ 99 w 407"/>
                <a:gd name="T101" fmla="*/ 61 h 406"/>
                <a:gd name="T102" fmla="*/ 80 w 407"/>
                <a:gd name="T103" fmla="*/ 111 h 406"/>
                <a:gd name="T104" fmla="*/ 77 w 407"/>
                <a:gd name="T105" fmla="*/ 157 h 406"/>
                <a:gd name="T106" fmla="*/ 92 w 407"/>
                <a:gd name="T107" fmla="*/ 206 h 406"/>
                <a:gd name="T108" fmla="*/ 136 w 407"/>
                <a:gd name="T109" fmla="*/ 256 h 406"/>
                <a:gd name="T110" fmla="*/ 29 w 407"/>
                <a:gd name="T111" fmla="*/ 321 h 406"/>
                <a:gd name="T112" fmla="*/ 5 w 407"/>
                <a:gd name="T113" fmla="*/ 354 h 406"/>
                <a:gd name="T114" fmla="*/ 202 w 407"/>
                <a:gd name="T11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7" h="406">
                  <a:moveTo>
                    <a:pt x="30" y="376"/>
                  </a:move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6" y="359"/>
                  </a:lnTo>
                  <a:lnTo>
                    <a:pt x="39" y="354"/>
                  </a:lnTo>
                  <a:lnTo>
                    <a:pt x="42" y="350"/>
                  </a:lnTo>
                  <a:lnTo>
                    <a:pt x="46" y="346"/>
                  </a:lnTo>
                  <a:lnTo>
                    <a:pt x="51" y="343"/>
                  </a:lnTo>
                  <a:lnTo>
                    <a:pt x="56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5" y="274"/>
                  </a:lnTo>
                  <a:lnTo>
                    <a:pt x="186" y="276"/>
                  </a:lnTo>
                  <a:lnTo>
                    <a:pt x="195" y="277"/>
                  </a:lnTo>
                  <a:lnTo>
                    <a:pt x="205" y="278"/>
                  </a:lnTo>
                  <a:lnTo>
                    <a:pt x="215" y="277"/>
                  </a:lnTo>
                  <a:lnTo>
                    <a:pt x="223" y="276"/>
                  </a:lnTo>
                  <a:lnTo>
                    <a:pt x="233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4" y="340"/>
                  </a:lnTo>
                  <a:lnTo>
                    <a:pt x="358" y="343"/>
                  </a:lnTo>
                  <a:lnTo>
                    <a:pt x="363" y="346"/>
                  </a:lnTo>
                  <a:lnTo>
                    <a:pt x="367" y="349"/>
                  </a:lnTo>
                  <a:lnTo>
                    <a:pt x="370" y="353"/>
                  </a:lnTo>
                  <a:lnTo>
                    <a:pt x="373" y="359"/>
                  </a:lnTo>
                  <a:lnTo>
                    <a:pt x="374" y="364"/>
                  </a:lnTo>
                  <a:lnTo>
                    <a:pt x="377" y="369"/>
                  </a:lnTo>
                  <a:lnTo>
                    <a:pt x="377" y="376"/>
                  </a:lnTo>
                  <a:lnTo>
                    <a:pt x="239" y="376"/>
                  </a:lnTo>
                  <a:lnTo>
                    <a:pt x="202" y="376"/>
                  </a:lnTo>
                  <a:lnTo>
                    <a:pt x="30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9" y="142"/>
                  </a:lnTo>
                  <a:lnTo>
                    <a:pt x="164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2" y="128"/>
                  </a:lnTo>
                  <a:lnTo>
                    <a:pt x="237" y="131"/>
                  </a:lnTo>
                  <a:lnTo>
                    <a:pt x="243" y="135"/>
                  </a:lnTo>
                  <a:lnTo>
                    <a:pt x="249" y="138"/>
                  </a:lnTo>
                  <a:lnTo>
                    <a:pt x="255" y="140"/>
                  </a:lnTo>
                  <a:lnTo>
                    <a:pt x="262" y="142"/>
                  </a:lnTo>
                  <a:lnTo>
                    <a:pt x="269" y="143"/>
                  </a:lnTo>
                  <a:lnTo>
                    <a:pt x="276" y="144"/>
                  </a:lnTo>
                  <a:lnTo>
                    <a:pt x="282" y="144"/>
                  </a:lnTo>
                  <a:lnTo>
                    <a:pt x="293" y="143"/>
                  </a:lnTo>
                  <a:lnTo>
                    <a:pt x="304" y="141"/>
                  </a:lnTo>
                  <a:lnTo>
                    <a:pt x="304" y="152"/>
                  </a:lnTo>
                  <a:lnTo>
                    <a:pt x="302" y="162"/>
                  </a:lnTo>
                  <a:lnTo>
                    <a:pt x="299" y="173"/>
                  </a:lnTo>
                  <a:lnTo>
                    <a:pt x="296" y="183"/>
                  </a:lnTo>
                  <a:lnTo>
                    <a:pt x="292" y="191"/>
                  </a:lnTo>
                  <a:lnTo>
                    <a:pt x="287" y="201"/>
                  </a:lnTo>
                  <a:lnTo>
                    <a:pt x="281" y="209"/>
                  </a:lnTo>
                  <a:lnTo>
                    <a:pt x="275" y="216"/>
                  </a:lnTo>
                  <a:lnTo>
                    <a:pt x="267" y="224"/>
                  </a:lnTo>
                  <a:lnTo>
                    <a:pt x="260" y="230"/>
                  </a:lnTo>
                  <a:lnTo>
                    <a:pt x="252" y="235"/>
                  </a:lnTo>
                  <a:lnTo>
                    <a:pt x="244" y="240"/>
                  </a:lnTo>
                  <a:lnTo>
                    <a:pt x="234" y="243"/>
                  </a:lnTo>
                  <a:lnTo>
                    <a:pt x="225" y="246"/>
                  </a:lnTo>
                  <a:lnTo>
                    <a:pt x="216" y="247"/>
                  </a:lnTo>
                  <a:lnTo>
                    <a:pt x="205" y="248"/>
                  </a:lnTo>
                  <a:lnTo>
                    <a:pt x="195" y="247"/>
                  </a:lnTo>
                  <a:lnTo>
                    <a:pt x="186" y="245"/>
                  </a:lnTo>
                  <a:lnTo>
                    <a:pt x="176" y="243"/>
                  </a:lnTo>
                  <a:lnTo>
                    <a:pt x="166" y="240"/>
                  </a:lnTo>
                  <a:lnTo>
                    <a:pt x="158" y="234"/>
                  </a:lnTo>
                  <a:lnTo>
                    <a:pt x="150" y="229"/>
                  </a:lnTo>
                  <a:lnTo>
                    <a:pt x="143" y="223"/>
                  </a:lnTo>
                  <a:lnTo>
                    <a:pt x="135" y="216"/>
                  </a:lnTo>
                  <a:lnTo>
                    <a:pt x="129" y="208"/>
                  </a:lnTo>
                  <a:lnTo>
                    <a:pt x="124" y="200"/>
                  </a:lnTo>
                  <a:lnTo>
                    <a:pt x="118" y="190"/>
                  </a:lnTo>
                  <a:lnTo>
                    <a:pt x="114" y="181"/>
                  </a:lnTo>
                  <a:lnTo>
                    <a:pt x="111" y="171"/>
                  </a:lnTo>
                  <a:lnTo>
                    <a:pt x="109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4" y="30"/>
                  </a:lnTo>
                  <a:lnTo>
                    <a:pt x="222" y="32"/>
                  </a:lnTo>
                  <a:lnTo>
                    <a:pt x="230" y="33"/>
                  </a:lnTo>
                  <a:lnTo>
                    <a:pt x="238" y="36"/>
                  </a:lnTo>
                  <a:lnTo>
                    <a:pt x="246" y="39"/>
                  </a:lnTo>
                  <a:lnTo>
                    <a:pt x="252" y="43"/>
                  </a:lnTo>
                  <a:lnTo>
                    <a:pt x="260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8" y="65"/>
                  </a:lnTo>
                  <a:lnTo>
                    <a:pt x="282" y="71"/>
                  </a:lnTo>
                  <a:lnTo>
                    <a:pt x="288" y="78"/>
                  </a:lnTo>
                  <a:lnTo>
                    <a:pt x="292" y="85"/>
                  </a:lnTo>
                  <a:lnTo>
                    <a:pt x="295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5" y="112"/>
                  </a:lnTo>
                  <a:lnTo>
                    <a:pt x="289" y="113"/>
                  </a:lnTo>
                  <a:lnTo>
                    <a:pt x="281" y="114"/>
                  </a:lnTo>
                  <a:lnTo>
                    <a:pt x="274" y="113"/>
                  </a:lnTo>
                  <a:lnTo>
                    <a:pt x="265" y="112"/>
                  </a:lnTo>
                  <a:lnTo>
                    <a:pt x="255" y="108"/>
                  </a:lnTo>
                  <a:lnTo>
                    <a:pt x="250" y="105"/>
                  </a:lnTo>
                  <a:lnTo>
                    <a:pt x="246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3" y="84"/>
                  </a:lnTo>
                  <a:lnTo>
                    <a:pt x="230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20" y="83"/>
                  </a:lnTo>
                  <a:lnTo>
                    <a:pt x="217" y="84"/>
                  </a:lnTo>
                  <a:lnTo>
                    <a:pt x="214" y="86"/>
                  </a:lnTo>
                  <a:lnTo>
                    <a:pt x="208" y="92"/>
                  </a:lnTo>
                  <a:lnTo>
                    <a:pt x="202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1"/>
                  </a:lnTo>
                  <a:lnTo>
                    <a:pt x="161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1" y="106"/>
                  </a:lnTo>
                  <a:lnTo>
                    <a:pt x="114" y="97"/>
                  </a:lnTo>
                  <a:lnTo>
                    <a:pt x="117" y="90"/>
                  </a:lnTo>
                  <a:lnTo>
                    <a:pt x="121" y="82"/>
                  </a:lnTo>
                  <a:lnTo>
                    <a:pt x="125" y="76"/>
                  </a:lnTo>
                  <a:lnTo>
                    <a:pt x="130" y="68"/>
                  </a:lnTo>
                  <a:lnTo>
                    <a:pt x="135" y="63"/>
                  </a:lnTo>
                  <a:lnTo>
                    <a:pt x="141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60" y="42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8" y="30"/>
                  </a:lnTo>
                  <a:lnTo>
                    <a:pt x="205" y="30"/>
                  </a:lnTo>
                  <a:close/>
                  <a:moveTo>
                    <a:pt x="239" y="406"/>
                  </a:moveTo>
                  <a:lnTo>
                    <a:pt x="407" y="406"/>
                  </a:lnTo>
                  <a:lnTo>
                    <a:pt x="407" y="376"/>
                  </a:lnTo>
                  <a:lnTo>
                    <a:pt x="406" y="365"/>
                  </a:lnTo>
                  <a:lnTo>
                    <a:pt x="403" y="354"/>
                  </a:lnTo>
                  <a:lnTo>
                    <a:pt x="399" y="345"/>
                  </a:lnTo>
                  <a:lnTo>
                    <a:pt x="394" y="336"/>
                  </a:lnTo>
                  <a:lnTo>
                    <a:pt x="387" y="328"/>
                  </a:lnTo>
                  <a:lnTo>
                    <a:pt x="380" y="321"/>
                  </a:lnTo>
                  <a:lnTo>
                    <a:pt x="371" y="316"/>
                  </a:lnTo>
                  <a:lnTo>
                    <a:pt x="363" y="311"/>
                  </a:lnTo>
                  <a:lnTo>
                    <a:pt x="271" y="289"/>
                  </a:lnTo>
                  <a:lnTo>
                    <a:pt x="271" y="258"/>
                  </a:lnTo>
                  <a:lnTo>
                    <a:pt x="278" y="253"/>
                  </a:lnTo>
                  <a:lnTo>
                    <a:pt x="284" y="248"/>
                  </a:lnTo>
                  <a:lnTo>
                    <a:pt x="291" y="242"/>
                  </a:lnTo>
                  <a:lnTo>
                    <a:pt x="297" y="236"/>
                  </a:lnTo>
                  <a:lnTo>
                    <a:pt x="308" y="223"/>
                  </a:lnTo>
                  <a:lnTo>
                    <a:pt x="317" y="209"/>
                  </a:lnTo>
                  <a:lnTo>
                    <a:pt x="321" y="200"/>
                  </a:lnTo>
                  <a:lnTo>
                    <a:pt x="324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2" y="167"/>
                  </a:lnTo>
                  <a:lnTo>
                    <a:pt x="333" y="157"/>
                  </a:lnTo>
                  <a:lnTo>
                    <a:pt x="334" y="149"/>
                  </a:lnTo>
                  <a:lnTo>
                    <a:pt x="334" y="139"/>
                  </a:lnTo>
                  <a:lnTo>
                    <a:pt x="334" y="125"/>
                  </a:lnTo>
                  <a:lnTo>
                    <a:pt x="332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9" y="72"/>
                  </a:lnTo>
                  <a:lnTo>
                    <a:pt x="312" y="61"/>
                  </a:lnTo>
                  <a:lnTo>
                    <a:pt x="305" y="50"/>
                  </a:lnTo>
                  <a:lnTo>
                    <a:pt x="296" y="40"/>
                  </a:lnTo>
                  <a:lnTo>
                    <a:pt x="288" y="32"/>
                  </a:lnTo>
                  <a:lnTo>
                    <a:pt x="277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4" y="6"/>
                  </a:lnTo>
                  <a:lnTo>
                    <a:pt x="231" y="3"/>
                  </a:lnTo>
                  <a:lnTo>
                    <a:pt x="219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6" y="10"/>
                  </a:lnTo>
                  <a:lnTo>
                    <a:pt x="144" y="17"/>
                  </a:lnTo>
                  <a:lnTo>
                    <a:pt x="133" y="23"/>
                  </a:lnTo>
                  <a:lnTo>
                    <a:pt x="124" y="32"/>
                  </a:lnTo>
                  <a:lnTo>
                    <a:pt x="114" y="40"/>
                  </a:lnTo>
                  <a:lnTo>
                    <a:pt x="106" y="50"/>
                  </a:lnTo>
                  <a:lnTo>
                    <a:pt x="99" y="61"/>
                  </a:lnTo>
                  <a:lnTo>
                    <a:pt x="92" y="72"/>
                  </a:lnTo>
                  <a:lnTo>
                    <a:pt x="87" y="84"/>
                  </a:lnTo>
                  <a:lnTo>
                    <a:pt x="83" y="97"/>
                  </a:lnTo>
                  <a:lnTo>
                    <a:pt x="80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1" y="174"/>
                  </a:lnTo>
                  <a:lnTo>
                    <a:pt x="86" y="190"/>
                  </a:lnTo>
                  <a:lnTo>
                    <a:pt x="92" y="206"/>
                  </a:lnTo>
                  <a:lnTo>
                    <a:pt x="101" y="220"/>
                  </a:lnTo>
                  <a:lnTo>
                    <a:pt x="112" y="234"/>
                  </a:lnTo>
                  <a:lnTo>
                    <a:pt x="124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8" y="313"/>
                  </a:lnTo>
                  <a:lnTo>
                    <a:pt x="39" y="316"/>
                  </a:lnTo>
                  <a:lnTo>
                    <a:pt x="29" y="321"/>
                  </a:lnTo>
                  <a:lnTo>
                    <a:pt x="22" y="328"/>
                  </a:lnTo>
                  <a:lnTo>
                    <a:pt x="14" y="336"/>
                  </a:lnTo>
                  <a:lnTo>
                    <a:pt x="9" y="345"/>
                  </a:lnTo>
                  <a:lnTo>
                    <a:pt x="5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2" y="406"/>
                  </a:lnTo>
                  <a:lnTo>
                    <a:pt x="239" y="40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4" name="Freeform 88"/>
            <p:cNvSpPr>
              <a:spLocks noEditPoints="1"/>
            </p:cNvSpPr>
            <p:nvPr/>
          </p:nvSpPr>
          <p:spPr bwMode="auto">
            <a:xfrm>
              <a:off x="5622925" y="1920875"/>
              <a:ext cx="128588" cy="128588"/>
            </a:xfrm>
            <a:custGeom>
              <a:avLst/>
              <a:gdLst>
                <a:gd name="T0" fmla="*/ 30 w 406"/>
                <a:gd name="T1" fmla="*/ 375 h 406"/>
                <a:gd name="T2" fmla="*/ 37 w 406"/>
                <a:gd name="T3" fmla="*/ 354 h 406"/>
                <a:gd name="T4" fmla="*/ 55 w 406"/>
                <a:gd name="T5" fmla="*/ 342 h 406"/>
                <a:gd name="T6" fmla="*/ 184 w 406"/>
                <a:gd name="T7" fmla="*/ 276 h 406"/>
                <a:gd name="T8" fmla="*/ 223 w 406"/>
                <a:gd name="T9" fmla="*/ 276 h 406"/>
                <a:gd name="T10" fmla="*/ 353 w 406"/>
                <a:gd name="T11" fmla="*/ 340 h 406"/>
                <a:gd name="T12" fmla="*/ 370 w 406"/>
                <a:gd name="T13" fmla="*/ 353 h 406"/>
                <a:gd name="T14" fmla="*/ 376 w 406"/>
                <a:gd name="T15" fmla="*/ 376 h 406"/>
                <a:gd name="T16" fmla="*/ 106 w 406"/>
                <a:gd name="T17" fmla="*/ 136 h 406"/>
                <a:gd name="T18" fmla="*/ 163 w 406"/>
                <a:gd name="T19" fmla="*/ 141 h 406"/>
                <a:gd name="T20" fmla="*/ 221 w 406"/>
                <a:gd name="T21" fmla="*/ 119 h 406"/>
                <a:gd name="T22" fmla="*/ 242 w 406"/>
                <a:gd name="T23" fmla="*/ 135 h 406"/>
                <a:gd name="T24" fmla="*/ 269 w 406"/>
                <a:gd name="T25" fmla="*/ 143 h 406"/>
                <a:gd name="T26" fmla="*/ 303 w 406"/>
                <a:gd name="T27" fmla="*/ 141 h 406"/>
                <a:gd name="T28" fmla="*/ 294 w 406"/>
                <a:gd name="T29" fmla="*/ 183 h 406"/>
                <a:gd name="T30" fmla="*/ 274 w 406"/>
                <a:gd name="T31" fmla="*/ 216 h 406"/>
                <a:gd name="T32" fmla="*/ 243 w 406"/>
                <a:gd name="T33" fmla="*/ 240 h 406"/>
                <a:gd name="T34" fmla="*/ 204 w 406"/>
                <a:gd name="T35" fmla="*/ 248 h 406"/>
                <a:gd name="T36" fmla="*/ 166 w 406"/>
                <a:gd name="T37" fmla="*/ 240 h 406"/>
                <a:gd name="T38" fmla="*/ 135 w 406"/>
                <a:gd name="T39" fmla="*/ 216 h 406"/>
                <a:gd name="T40" fmla="*/ 113 w 406"/>
                <a:gd name="T41" fmla="*/ 181 h 406"/>
                <a:gd name="T42" fmla="*/ 106 w 406"/>
                <a:gd name="T43" fmla="*/ 139 h 406"/>
                <a:gd name="T44" fmla="*/ 229 w 406"/>
                <a:gd name="T45" fmla="*/ 33 h 406"/>
                <a:gd name="T46" fmla="*/ 259 w 406"/>
                <a:gd name="T47" fmla="*/ 48 h 406"/>
                <a:gd name="T48" fmla="*/ 282 w 406"/>
                <a:gd name="T49" fmla="*/ 71 h 406"/>
                <a:gd name="T50" fmla="*/ 298 w 406"/>
                <a:gd name="T51" fmla="*/ 102 h 406"/>
                <a:gd name="T52" fmla="*/ 281 w 406"/>
                <a:gd name="T53" fmla="*/ 114 h 406"/>
                <a:gd name="T54" fmla="*/ 249 w 406"/>
                <a:gd name="T55" fmla="*/ 105 h 406"/>
                <a:gd name="T56" fmla="*/ 234 w 406"/>
                <a:gd name="T57" fmla="*/ 87 h 406"/>
                <a:gd name="T58" fmla="*/ 223 w 406"/>
                <a:gd name="T59" fmla="*/ 82 h 406"/>
                <a:gd name="T60" fmla="*/ 207 w 406"/>
                <a:gd name="T61" fmla="*/ 92 h 406"/>
                <a:gd name="T62" fmla="*/ 181 w 406"/>
                <a:gd name="T63" fmla="*/ 107 h 406"/>
                <a:gd name="T64" fmla="*/ 147 w 406"/>
                <a:gd name="T65" fmla="*/ 113 h 406"/>
                <a:gd name="T66" fmla="*/ 113 w 406"/>
                <a:gd name="T67" fmla="*/ 97 h 406"/>
                <a:gd name="T68" fmla="*/ 129 w 406"/>
                <a:gd name="T69" fmla="*/ 68 h 406"/>
                <a:gd name="T70" fmla="*/ 152 w 406"/>
                <a:gd name="T71" fmla="*/ 47 h 406"/>
                <a:gd name="T72" fmla="*/ 181 w 406"/>
                <a:gd name="T73" fmla="*/ 33 h 406"/>
                <a:gd name="T74" fmla="*/ 361 w 406"/>
                <a:gd name="T75" fmla="*/ 311 h 406"/>
                <a:gd name="T76" fmla="*/ 284 w 406"/>
                <a:gd name="T77" fmla="*/ 248 h 406"/>
                <a:gd name="T78" fmla="*/ 316 w 406"/>
                <a:gd name="T79" fmla="*/ 209 h 406"/>
                <a:gd name="T80" fmla="*/ 329 w 406"/>
                <a:gd name="T81" fmla="*/ 175 h 406"/>
                <a:gd name="T82" fmla="*/ 333 w 406"/>
                <a:gd name="T83" fmla="*/ 139 h 406"/>
                <a:gd name="T84" fmla="*/ 323 w 406"/>
                <a:gd name="T85" fmla="*/ 84 h 406"/>
                <a:gd name="T86" fmla="*/ 296 w 406"/>
                <a:gd name="T87" fmla="*/ 40 h 406"/>
                <a:gd name="T88" fmla="*/ 255 w 406"/>
                <a:gd name="T89" fmla="*/ 10 h 406"/>
                <a:gd name="T90" fmla="*/ 204 w 406"/>
                <a:gd name="T91" fmla="*/ 0 h 406"/>
                <a:gd name="T92" fmla="*/ 154 w 406"/>
                <a:gd name="T93" fmla="*/ 10 h 406"/>
                <a:gd name="T94" fmla="*/ 113 w 406"/>
                <a:gd name="T95" fmla="*/ 40 h 406"/>
                <a:gd name="T96" fmla="*/ 85 w 406"/>
                <a:gd name="T97" fmla="*/ 84 h 406"/>
                <a:gd name="T98" fmla="*/ 76 w 406"/>
                <a:gd name="T99" fmla="*/ 139 h 406"/>
                <a:gd name="T100" fmla="*/ 80 w 406"/>
                <a:gd name="T101" fmla="*/ 174 h 406"/>
                <a:gd name="T102" fmla="*/ 111 w 406"/>
                <a:gd name="T103" fmla="*/ 234 h 406"/>
                <a:gd name="T104" fmla="*/ 47 w 406"/>
                <a:gd name="T105" fmla="*/ 313 h 406"/>
                <a:gd name="T106" fmla="*/ 14 w 406"/>
                <a:gd name="T107" fmla="*/ 336 h 406"/>
                <a:gd name="T108" fmla="*/ 0 w 406"/>
                <a:gd name="T109" fmla="*/ 375 h 406"/>
                <a:gd name="T110" fmla="*/ 406 w 406"/>
                <a:gd name="T111" fmla="*/ 406 h 406"/>
                <a:gd name="T112" fmla="*/ 398 w 406"/>
                <a:gd name="T113" fmla="*/ 345 h 406"/>
                <a:gd name="T114" fmla="*/ 371 w 406"/>
                <a:gd name="T115" fmla="*/ 31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6" h="406">
                  <a:moveTo>
                    <a:pt x="239" y="376"/>
                  </a:moveTo>
                  <a:lnTo>
                    <a:pt x="201" y="376"/>
                  </a:lnTo>
                  <a:lnTo>
                    <a:pt x="30" y="376"/>
                  </a:lnTo>
                  <a:lnTo>
                    <a:pt x="30" y="375"/>
                  </a:lnTo>
                  <a:lnTo>
                    <a:pt x="31" y="369"/>
                  </a:lnTo>
                  <a:lnTo>
                    <a:pt x="32" y="364"/>
                  </a:lnTo>
                  <a:lnTo>
                    <a:pt x="34" y="359"/>
                  </a:lnTo>
                  <a:lnTo>
                    <a:pt x="37" y="354"/>
                  </a:lnTo>
                  <a:lnTo>
                    <a:pt x="41" y="350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5" y="342"/>
                  </a:lnTo>
                  <a:lnTo>
                    <a:pt x="166" y="311"/>
                  </a:lnTo>
                  <a:lnTo>
                    <a:pt x="166" y="271"/>
                  </a:lnTo>
                  <a:lnTo>
                    <a:pt x="174" y="274"/>
                  </a:lnTo>
                  <a:lnTo>
                    <a:pt x="184" y="276"/>
                  </a:lnTo>
                  <a:lnTo>
                    <a:pt x="195" y="277"/>
                  </a:lnTo>
                  <a:lnTo>
                    <a:pt x="204" y="278"/>
                  </a:lnTo>
                  <a:lnTo>
                    <a:pt x="214" y="277"/>
                  </a:lnTo>
                  <a:lnTo>
                    <a:pt x="223" y="276"/>
                  </a:lnTo>
                  <a:lnTo>
                    <a:pt x="232" y="275"/>
                  </a:lnTo>
                  <a:lnTo>
                    <a:pt x="241" y="272"/>
                  </a:lnTo>
                  <a:lnTo>
                    <a:pt x="241" y="311"/>
                  </a:lnTo>
                  <a:lnTo>
                    <a:pt x="353" y="340"/>
                  </a:lnTo>
                  <a:lnTo>
                    <a:pt x="358" y="343"/>
                  </a:lnTo>
                  <a:lnTo>
                    <a:pt x="362" y="346"/>
                  </a:lnTo>
                  <a:lnTo>
                    <a:pt x="366" y="349"/>
                  </a:lnTo>
                  <a:lnTo>
                    <a:pt x="370" y="353"/>
                  </a:lnTo>
                  <a:lnTo>
                    <a:pt x="372" y="359"/>
                  </a:lnTo>
                  <a:lnTo>
                    <a:pt x="374" y="364"/>
                  </a:lnTo>
                  <a:lnTo>
                    <a:pt x="376" y="369"/>
                  </a:lnTo>
                  <a:lnTo>
                    <a:pt x="376" y="376"/>
                  </a:lnTo>
                  <a:lnTo>
                    <a:pt x="239" y="376"/>
                  </a:lnTo>
                  <a:close/>
                  <a:moveTo>
                    <a:pt x="106" y="139"/>
                  </a:moveTo>
                  <a:lnTo>
                    <a:pt x="106" y="138"/>
                  </a:lnTo>
                  <a:lnTo>
                    <a:pt x="106" y="136"/>
                  </a:lnTo>
                  <a:lnTo>
                    <a:pt x="119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8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4"/>
                  </a:lnTo>
                  <a:lnTo>
                    <a:pt x="230" y="128"/>
                  </a:lnTo>
                  <a:lnTo>
                    <a:pt x="237" y="131"/>
                  </a:lnTo>
                  <a:lnTo>
                    <a:pt x="242" y="135"/>
                  </a:lnTo>
                  <a:lnTo>
                    <a:pt x="248" y="138"/>
                  </a:lnTo>
                  <a:lnTo>
                    <a:pt x="255" y="140"/>
                  </a:lnTo>
                  <a:lnTo>
                    <a:pt x="261" y="142"/>
                  </a:lnTo>
                  <a:lnTo>
                    <a:pt x="269" y="143"/>
                  </a:lnTo>
                  <a:lnTo>
                    <a:pt x="275" y="144"/>
                  </a:lnTo>
                  <a:lnTo>
                    <a:pt x="282" y="144"/>
                  </a:lnTo>
                  <a:lnTo>
                    <a:pt x="292" y="143"/>
                  </a:lnTo>
                  <a:lnTo>
                    <a:pt x="303" y="141"/>
                  </a:lnTo>
                  <a:lnTo>
                    <a:pt x="303" y="152"/>
                  </a:lnTo>
                  <a:lnTo>
                    <a:pt x="301" y="162"/>
                  </a:lnTo>
                  <a:lnTo>
                    <a:pt x="299" y="173"/>
                  </a:lnTo>
                  <a:lnTo>
                    <a:pt x="294" y="183"/>
                  </a:lnTo>
                  <a:lnTo>
                    <a:pt x="290" y="191"/>
                  </a:lnTo>
                  <a:lnTo>
                    <a:pt x="286" y="201"/>
                  </a:lnTo>
                  <a:lnTo>
                    <a:pt x="279" y="209"/>
                  </a:lnTo>
                  <a:lnTo>
                    <a:pt x="274" y="216"/>
                  </a:lnTo>
                  <a:lnTo>
                    <a:pt x="267" y="224"/>
                  </a:lnTo>
                  <a:lnTo>
                    <a:pt x="259" y="230"/>
                  </a:lnTo>
                  <a:lnTo>
                    <a:pt x="251" y="235"/>
                  </a:lnTo>
                  <a:lnTo>
                    <a:pt x="243" y="240"/>
                  </a:lnTo>
                  <a:lnTo>
                    <a:pt x="233" y="243"/>
                  </a:lnTo>
                  <a:lnTo>
                    <a:pt x="224" y="246"/>
                  </a:lnTo>
                  <a:lnTo>
                    <a:pt x="214" y="247"/>
                  </a:lnTo>
                  <a:lnTo>
                    <a:pt x="204" y="248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5" y="243"/>
                  </a:lnTo>
                  <a:lnTo>
                    <a:pt x="166" y="240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200"/>
                  </a:lnTo>
                  <a:lnTo>
                    <a:pt x="118" y="190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6" y="150"/>
                  </a:lnTo>
                  <a:lnTo>
                    <a:pt x="106" y="139"/>
                  </a:lnTo>
                  <a:close/>
                  <a:moveTo>
                    <a:pt x="204" y="30"/>
                  </a:moveTo>
                  <a:lnTo>
                    <a:pt x="213" y="30"/>
                  </a:lnTo>
                  <a:lnTo>
                    <a:pt x="222" y="32"/>
                  </a:lnTo>
                  <a:lnTo>
                    <a:pt x="229" y="33"/>
                  </a:lnTo>
                  <a:lnTo>
                    <a:pt x="238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9" y="48"/>
                  </a:lnTo>
                  <a:lnTo>
                    <a:pt x="266" y="53"/>
                  </a:lnTo>
                  <a:lnTo>
                    <a:pt x="271" y="58"/>
                  </a:lnTo>
                  <a:lnTo>
                    <a:pt x="276" y="65"/>
                  </a:lnTo>
                  <a:lnTo>
                    <a:pt x="282" y="71"/>
                  </a:lnTo>
                  <a:lnTo>
                    <a:pt x="287" y="78"/>
                  </a:lnTo>
                  <a:lnTo>
                    <a:pt x="291" y="85"/>
                  </a:lnTo>
                  <a:lnTo>
                    <a:pt x="294" y="94"/>
                  </a:lnTo>
                  <a:lnTo>
                    <a:pt x="298" y="102"/>
                  </a:lnTo>
                  <a:lnTo>
                    <a:pt x="300" y="110"/>
                  </a:lnTo>
                  <a:lnTo>
                    <a:pt x="294" y="112"/>
                  </a:lnTo>
                  <a:lnTo>
                    <a:pt x="288" y="113"/>
                  </a:lnTo>
                  <a:lnTo>
                    <a:pt x="281" y="114"/>
                  </a:lnTo>
                  <a:lnTo>
                    <a:pt x="273" y="113"/>
                  </a:lnTo>
                  <a:lnTo>
                    <a:pt x="264" y="112"/>
                  </a:lnTo>
                  <a:lnTo>
                    <a:pt x="255" y="108"/>
                  </a:lnTo>
                  <a:lnTo>
                    <a:pt x="249" y="105"/>
                  </a:lnTo>
                  <a:lnTo>
                    <a:pt x="245" y="100"/>
                  </a:lnTo>
                  <a:lnTo>
                    <a:pt x="241" y="96"/>
                  </a:lnTo>
                  <a:lnTo>
                    <a:pt x="237" y="90"/>
                  </a:lnTo>
                  <a:lnTo>
                    <a:pt x="234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8" y="83"/>
                  </a:lnTo>
                  <a:lnTo>
                    <a:pt x="216" y="84"/>
                  </a:lnTo>
                  <a:lnTo>
                    <a:pt x="213" y="86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8" y="104"/>
                  </a:lnTo>
                  <a:lnTo>
                    <a:pt x="181" y="107"/>
                  </a:lnTo>
                  <a:lnTo>
                    <a:pt x="174" y="109"/>
                  </a:lnTo>
                  <a:lnTo>
                    <a:pt x="167" y="111"/>
                  </a:lnTo>
                  <a:lnTo>
                    <a:pt x="160" y="112"/>
                  </a:lnTo>
                  <a:lnTo>
                    <a:pt x="147" y="113"/>
                  </a:lnTo>
                  <a:lnTo>
                    <a:pt x="134" y="112"/>
                  </a:lnTo>
                  <a:lnTo>
                    <a:pt x="121" y="110"/>
                  </a:lnTo>
                  <a:lnTo>
                    <a:pt x="110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6"/>
                  </a:lnTo>
                  <a:lnTo>
                    <a:pt x="129" y="68"/>
                  </a:lnTo>
                  <a:lnTo>
                    <a:pt x="135" y="63"/>
                  </a:lnTo>
                  <a:lnTo>
                    <a:pt x="140" y="56"/>
                  </a:lnTo>
                  <a:lnTo>
                    <a:pt x="145" y="51"/>
                  </a:lnTo>
                  <a:lnTo>
                    <a:pt x="152" y="47"/>
                  </a:lnTo>
                  <a:lnTo>
                    <a:pt x="158" y="42"/>
                  </a:lnTo>
                  <a:lnTo>
                    <a:pt x="166" y="38"/>
                  </a:lnTo>
                  <a:lnTo>
                    <a:pt x="173" y="35"/>
                  </a:lnTo>
                  <a:lnTo>
                    <a:pt x="181" y="33"/>
                  </a:lnTo>
                  <a:lnTo>
                    <a:pt x="188" y="31"/>
                  </a:lnTo>
                  <a:lnTo>
                    <a:pt x="197" y="30"/>
                  </a:lnTo>
                  <a:lnTo>
                    <a:pt x="204" y="30"/>
                  </a:lnTo>
                  <a:close/>
                  <a:moveTo>
                    <a:pt x="361" y="311"/>
                  </a:moveTo>
                  <a:lnTo>
                    <a:pt x="271" y="289"/>
                  </a:lnTo>
                  <a:lnTo>
                    <a:pt x="271" y="258"/>
                  </a:lnTo>
                  <a:lnTo>
                    <a:pt x="277" y="253"/>
                  </a:lnTo>
                  <a:lnTo>
                    <a:pt x="284" y="248"/>
                  </a:lnTo>
                  <a:lnTo>
                    <a:pt x="290" y="242"/>
                  </a:lnTo>
                  <a:lnTo>
                    <a:pt x="297" y="236"/>
                  </a:lnTo>
                  <a:lnTo>
                    <a:pt x="307" y="223"/>
                  </a:lnTo>
                  <a:lnTo>
                    <a:pt x="316" y="209"/>
                  </a:lnTo>
                  <a:lnTo>
                    <a:pt x="320" y="200"/>
                  </a:lnTo>
                  <a:lnTo>
                    <a:pt x="323" y="192"/>
                  </a:lnTo>
                  <a:lnTo>
                    <a:pt x="327" y="184"/>
                  </a:lnTo>
                  <a:lnTo>
                    <a:pt x="329" y="175"/>
                  </a:lnTo>
                  <a:lnTo>
                    <a:pt x="331" y="167"/>
                  </a:lnTo>
                  <a:lnTo>
                    <a:pt x="332" y="157"/>
                  </a:lnTo>
                  <a:lnTo>
                    <a:pt x="333" y="149"/>
                  </a:lnTo>
                  <a:lnTo>
                    <a:pt x="333" y="139"/>
                  </a:lnTo>
                  <a:lnTo>
                    <a:pt x="333" y="125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3" y="84"/>
                  </a:lnTo>
                  <a:lnTo>
                    <a:pt x="318" y="72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4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6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2"/>
                  </a:lnTo>
                  <a:lnTo>
                    <a:pt x="85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5"/>
                  </a:lnTo>
                  <a:lnTo>
                    <a:pt x="76" y="139"/>
                  </a:lnTo>
                  <a:lnTo>
                    <a:pt x="76" y="147"/>
                  </a:lnTo>
                  <a:lnTo>
                    <a:pt x="77" y="157"/>
                  </a:lnTo>
                  <a:lnTo>
                    <a:pt x="78" y="166"/>
                  </a:lnTo>
                  <a:lnTo>
                    <a:pt x="80" y="174"/>
                  </a:lnTo>
                  <a:lnTo>
                    <a:pt x="85" y="190"/>
                  </a:lnTo>
                  <a:lnTo>
                    <a:pt x="92" y="206"/>
                  </a:lnTo>
                  <a:lnTo>
                    <a:pt x="100" y="220"/>
                  </a:lnTo>
                  <a:lnTo>
                    <a:pt x="111" y="234"/>
                  </a:lnTo>
                  <a:lnTo>
                    <a:pt x="123" y="246"/>
                  </a:lnTo>
                  <a:lnTo>
                    <a:pt x="136" y="256"/>
                  </a:lnTo>
                  <a:lnTo>
                    <a:pt x="136" y="289"/>
                  </a:lnTo>
                  <a:lnTo>
                    <a:pt x="47" y="313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4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6"/>
                  </a:lnTo>
                  <a:lnTo>
                    <a:pt x="201" y="406"/>
                  </a:lnTo>
                  <a:lnTo>
                    <a:pt x="239" y="406"/>
                  </a:lnTo>
                  <a:lnTo>
                    <a:pt x="406" y="406"/>
                  </a:lnTo>
                  <a:lnTo>
                    <a:pt x="406" y="376"/>
                  </a:lnTo>
                  <a:lnTo>
                    <a:pt x="405" y="365"/>
                  </a:lnTo>
                  <a:lnTo>
                    <a:pt x="403" y="354"/>
                  </a:lnTo>
                  <a:lnTo>
                    <a:pt x="398" y="345"/>
                  </a:lnTo>
                  <a:lnTo>
                    <a:pt x="393" y="336"/>
                  </a:lnTo>
                  <a:lnTo>
                    <a:pt x="387" y="328"/>
                  </a:lnTo>
                  <a:lnTo>
                    <a:pt x="379" y="321"/>
                  </a:lnTo>
                  <a:lnTo>
                    <a:pt x="371" y="316"/>
                  </a:lnTo>
                  <a:lnTo>
                    <a:pt x="361" y="31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5" name="Freeform 89"/>
            <p:cNvSpPr>
              <a:spLocks noEditPoints="1"/>
            </p:cNvSpPr>
            <p:nvPr/>
          </p:nvSpPr>
          <p:spPr bwMode="auto">
            <a:xfrm>
              <a:off x="5543550" y="2073275"/>
              <a:ext cx="130175" cy="128588"/>
            </a:xfrm>
            <a:custGeom>
              <a:avLst/>
              <a:gdLst>
                <a:gd name="T0" fmla="*/ 30 w 409"/>
                <a:gd name="T1" fmla="*/ 379 h 409"/>
                <a:gd name="T2" fmla="*/ 35 w 409"/>
                <a:gd name="T3" fmla="*/ 359 h 409"/>
                <a:gd name="T4" fmla="*/ 50 w 409"/>
                <a:gd name="T5" fmla="*/ 343 h 409"/>
                <a:gd name="T6" fmla="*/ 172 w 409"/>
                <a:gd name="T7" fmla="*/ 273 h 409"/>
                <a:gd name="T8" fmla="*/ 215 w 409"/>
                <a:gd name="T9" fmla="*/ 277 h 409"/>
                <a:gd name="T10" fmla="*/ 246 w 409"/>
                <a:gd name="T11" fmla="*/ 311 h 409"/>
                <a:gd name="T12" fmla="*/ 368 w 409"/>
                <a:gd name="T13" fmla="*/ 349 h 409"/>
                <a:gd name="T14" fmla="*/ 379 w 409"/>
                <a:gd name="T15" fmla="*/ 370 h 409"/>
                <a:gd name="T16" fmla="*/ 106 w 409"/>
                <a:gd name="T17" fmla="*/ 137 h 409"/>
                <a:gd name="T18" fmla="*/ 148 w 409"/>
                <a:gd name="T19" fmla="*/ 142 h 409"/>
                <a:gd name="T20" fmla="*/ 208 w 409"/>
                <a:gd name="T21" fmla="*/ 127 h 409"/>
                <a:gd name="T22" fmla="*/ 236 w 409"/>
                <a:gd name="T23" fmla="*/ 132 h 409"/>
                <a:gd name="T24" fmla="*/ 260 w 409"/>
                <a:gd name="T25" fmla="*/ 141 h 409"/>
                <a:gd name="T26" fmla="*/ 293 w 409"/>
                <a:gd name="T27" fmla="*/ 142 h 409"/>
                <a:gd name="T28" fmla="*/ 299 w 409"/>
                <a:gd name="T29" fmla="*/ 172 h 409"/>
                <a:gd name="T30" fmla="*/ 281 w 409"/>
                <a:gd name="T31" fmla="*/ 209 h 409"/>
                <a:gd name="T32" fmla="*/ 252 w 409"/>
                <a:gd name="T33" fmla="*/ 234 h 409"/>
                <a:gd name="T34" fmla="*/ 215 w 409"/>
                <a:gd name="T35" fmla="*/ 247 h 409"/>
                <a:gd name="T36" fmla="*/ 176 w 409"/>
                <a:gd name="T37" fmla="*/ 243 h 409"/>
                <a:gd name="T38" fmla="*/ 142 w 409"/>
                <a:gd name="T39" fmla="*/ 223 h 409"/>
                <a:gd name="T40" fmla="*/ 118 w 409"/>
                <a:gd name="T41" fmla="*/ 191 h 409"/>
                <a:gd name="T42" fmla="*/ 107 w 409"/>
                <a:gd name="T43" fmla="*/ 150 h 409"/>
                <a:gd name="T44" fmla="*/ 222 w 409"/>
                <a:gd name="T45" fmla="*/ 31 h 409"/>
                <a:gd name="T46" fmla="*/ 252 w 409"/>
                <a:gd name="T47" fmla="*/ 43 h 409"/>
                <a:gd name="T48" fmla="*/ 276 w 409"/>
                <a:gd name="T49" fmla="*/ 64 h 409"/>
                <a:gd name="T50" fmla="*/ 295 w 409"/>
                <a:gd name="T51" fmla="*/ 93 h 409"/>
                <a:gd name="T52" fmla="*/ 287 w 409"/>
                <a:gd name="T53" fmla="*/ 113 h 409"/>
                <a:gd name="T54" fmla="*/ 254 w 409"/>
                <a:gd name="T55" fmla="*/ 107 h 409"/>
                <a:gd name="T56" fmla="*/ 237 w 409"/>
                <a:gd name="T57" fmla="*/ 90 h 409"/>
                <a:gd name="T58" fmla="*/ 226 w 409"/>
                <a:gd name="T59" fmla="*/ 82 h 409"/>
                <a:gd name="T60" fmla="*/ 213 w 409"/>
                <a:gd name="T61" fmla="*/ 87 h 409"/>
                <a:gd name="T62" fmla="*/ 189 w 409"/>
                <a:gd name="T63" fmla="*/ 104 h 409"/>
                <a:gd name="T64" fmla="*/ 161 w 409"/>
                <a:gd name="T65" fmla="*/ 112 h 409"/>
                <a:gd name="T66" fmla="*/ 111 w 409"/>
                <a:gd name="T67" fmla="*/ 106 h 409"/>
                <a:gd name="T68" fmla="*/ 124 w 409"/>
                <a:gd name="T69" fmla="*/ 75 h 409"/>
                <a:gd name="T70" fmla="*/ 146 w 409"/>
                <a:gd name="T71" fmla="*/ 51 h 409"/>
                <a:gd name="T72" fmla="*/ 174 w 409"/>
                <a:gd name="T73" fmla="*/ 35 h 409"/>
                <a:gd name="T74" fmla="*/ 205 w 409"/>
                <a:gd name="T75" fmla="*/ 30 h 409"/>
                <a:gd name="T76" fmla="*/ 289 w 409"/>
                <a:gd name="T77" fmla="*/ 244 h 409"/>
                <a:gd name="T78" fmla="*/ 325 w 409"/>
                <a:gd name="T79" fmla="*/ 189 h 409"/>
                <a:gd name="T80" fmla="*/ 333 w 409"/>
                <a:gd name="T81" fmla="*/ 124 h 409"/>
                <a:gd name="T82" fmla="*/ 318 w 409"/>
                <a:gd name="T83" fmla="*/ 73 h 409"/>
                <a:gd name="T84" fmla="*/ 287 w 409"/>
                <a:gd name="T85" fmla="*/ 32 h 409"/>
                <a:gd name="T86" fmla="*/ 243 w 409"/>
                <a:gd name="T87" fmla="*/ 6 h 409"/>
                <a:gd name="T88" fmla="*/ 192 w 409"/>
                <a:gd name="T89" fmla="*/ 1 h 409"/>
                <a:gd name="T90" fmla="*/ 143 w 409"/>
                <a:gd name="T91" fmla="*/ 17 h 409"/>
                <a:gd name="T92" fmla="*/ 105 w 409"/>
                <a:gd name="T93" fmla="*/ 50 h 409"/>
                <a:gd name="T94" fmla="*/ 81 w 409"/>
                <a:gd name="T95" fmla="*/ 97 h 409"/>
                <a:gd name="T96" fmla="*/ 77 w 409"/>
                <a:gd name="T97" fmla="*/ 156 h 409"/>
                <a:gd name="T98" fmla="*/ 100 w 409"/>
                <a:gd name="T99" fmla="*/ 219 h 409"/>
                <a:gd name="T100" fmla="*/ 133 w 409"/>
                <a:gd name="T101" fmla="*/ 288 h 409"/>
                <a:gd name="T102" fmla="*/ 21 w 409"/>
                <a:gd name="T103" fmla="*/ 328 h 409"/>
                <a:gd name="T104" fmla="*/ 1 w 409"/>
                <a:gd name="T105" fmla="*/ 364 h 409"/>
                <a:gd name="T106" fmla="*/ 224 w 409"/>
                <a:gd name="T107" fmla="*/ 409 h 409"/>
                <a:gd name="T108" fmla="*/ 406 w 409"/>
                <a:gd name="T109" fmla="*/ 355 h 409"/>
                <a:gd name="T110" fmla="*/ 380 w 409"/>
                <a:gd name="T111" fmla="*/ 321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9" h="409">
                  <a:moveTo>
                    <a:pt x="379" y="379"/>
                  </a:moveTo>
                  <a:lnTo>
                    <a:pt x="224" y="379"/>
                  </a:lnTo>
                  <a:lnTo>
                    <a:pt x="186" y="379"/>
                  </a:lnTo>
                  <a:lnTo>
                    <a:pt x="30" y="379"/>
                  </a:lnTo>
                  <a:lnTo>
                    <a:pt x="30" y="375"/>
                  </a:lnTo>
                  <a:lnTo>
                    <a:pt x="31" y="370"/>
                  </a:lnTo>
                  <a:lnTo>
                    <a:pt x="32" y="364"/>
                  </a:lnTo>
                  <a:lnTo>
                    <a:pt x="35" y="359"/>
                  </a:lnTo>
                  <a:lnTo>
                    <a:pt x="37" y="355"/>
                  </a:lnTo>
                  <a:lnTo>
                    <a:pt x="42" y="349"/>
                  </a:lnTo>
                  <a:lnTo>
                    <a:pt x="46" y="346"/>
                  </a:lnTo>
                  <a:lnTo>
                    <a:pt x="50" y="343"/>
                  </a:lnTo>
                  <a:lnTo>
                    <a:pt x="56" y="341"/>
                  </a:lnTo>
                  <a:lnTo>
                    <a:pt x="163" y="311"/>
                  </a:lnTo>
                  <a:lnTo>
                    <a:pt x="163" y="270"/>
                  </a:lnTo>
                  <a:lnTo>
                    <a:pt x="172" y="273"/>
                  </a:lnTo>
                  <a:lnTo>
                    <a:pt x="183" y="275"/>
                  </a:lnTo>
                  <a:lnTo>
                    <a:pt x="194" y="277"/>
                  </a:lnTo>
                  <a:lnTo>
                    <a:pt x="205" y="277"/>
                  </a:lnTo>
                  <a:lnTo>
                    <a:pt x="215" y="277"/>
                  </a:lnTo>
                  <a:lnTo>
                    <a:pt x="226" y="275"/>
                  </a:lnTo>
                  <a:lnTo>
                    <a:pt x="237" y="273"/>
                  </a:lnTo>
                  <a:lnTo>
                    <a:pt x="246" y="270"/>
                  </a:lnTo>
                  <a:lnTo>
                    <a:pt x="246" y="311"/>
                  </a:lnTo>
                  <a:lnTo>
                    <a:pt x="354" y="341"/>
                  </a:lnTo>
                  <a:lnTo>
                    <a:pt x="359" y="343"/>
                  </a:lnTo>
                  <a:lnTo>
                    <a:pt x="363" y="346"/>
                  </a:lnTo>
                  <a:lnTo>
                    <a:pt x="368" y="349"/>
                  </a:lnTo>
                  <a:lnTo>
                    <a:pt x="372" y="355"/>
                  </a:lnTo>
                  <a:lnTo>
                    <a:pt x="375" y="359"/>
                  </a:lnTo>
                  <a:lnTo>
                    <a:pt x="377" y="364"/>
                  </a:lnTo>
                  <a:lnTo>
                    <a:pt x="379" y="370"/>
                  </a:lnTo>
                  <a:lnTo>
                    <a:pt x="379" y="375"/>
                  </a:lnTo>
                  <a:lnTo>
                    <a:pt x="379" y="379"/>
                  </a:lnTo>
                  <a:close/>
                  <a:moveTo>
                    <a:pt x="106" y="139"/>
                  </a:moveTo>
                  <a:lnTo>
                    <a:pt x="106" y="137"/>
                  </a:lnTo>
                  <a:lnTo>
                    <a:pt x="106" y="136"/>
                  </a:lnTo>
                  <a:lnTo>
                    <a:pt x="120" y="140"/>
                  </a:lnTo>
                  <a:lnTo>
                    <a:pt x="134" y="142"/>
                  </a:lnTo>
                  <a:lnTo>
                    <a:pt x="148" y="142"/>
                  </a:lnTo>
                  <a:lnTo>
                    <a:pt x="163" y="141"/>
                  </a:lnTo>
                  <a:lnTo>
                    <a:pt x="179" y="139"/>
                  </a:lnTo>
                  <a:lnTo>
                    <a:pt x="193" y="134"/>
                  </a:lnTo>
                  <a:lnTo>
                    <a:pt x="208" y="127"/>
                  </a:lnTo>
                  <a:lnTo>
                    <a:pt x="221" y="119"/>
                  </a:lnTo>
                  <a:lnTo>
                    <a:pt x="226" y="123"/>
                  </a:lnTo>
                  <a:lnTo>
                    <a:pt x="230" y="127"/>
                  </a:lnTo>
                  <a:lnTo>
                    <a:pt x="236" y="132"/>
                  </a:lnTo>
                  <a:lnTo>
                    <a:pt x="242" y="135"/>
                  </a:lnTo>
                  <a:lnTo>
                    <a:pt x="247" y="137"/>
                  </a:lnTo>
                  <a:lnTo>
                    <a:pt x="254" y="139"/>
                  </a:lnTo>
                  <a:lnTo>
                    <a:pt x="260" y="141"/>
                  </a:lnTo>
                  <a:lnTo>
                    <a:pt x="268" y="142"/>
                  </a:lnTo>
                  <a:lnTo>
                    <a:pt x="273" y="143"/>
                  </a:lnTo>
                  <a:lnTo>
                    <a:pt x="280" y="143"/>
                  </a:lnTo>
                  <a:lnTo>
                    <a:pt x="293" y="142"/>
                  </a:lnTo>
                  <a:lnTo>
                    <a:pt x="303" y="140"/>
                  </a:lnTo>
                  <a:lnTo>
                    <a:pt x="303" y="151"/>
                  </a:lnTo>
                  <a:lnTo>
                    <a:pt x="301" y="162"/>
                  </a:lnTo>
                  <a:lnTo>
                    <a:pt x="299" y="172"/>
                  </a:lnTo>
                  <a:lnTo>
                    <a:pt x="296" y="182"/>
                  </a:lnTo>
                  <a:lnTo>
                    <a:pt x="291" y="192"/>
                  </a:lnTo>
                  <a:lnTo>
                    <a:pt x="286" y="200"/>
                  </a:lnTo>
                  <a:lnTo>
                    <a:pt x="281" y="209"/>
                  </a:lnTo>
                  <a:lnTo>
                    <a:pt x="274" y="216"/>
                  </a:lnTo>
                  <a:lnTo>
                    <a:pt x="267" y="223"/>
                  </a:lnTo>
                  <a:lnTo>
                    <a:pt x="259" y="229"/>
                  </a:lnTo>
                  <a:lnTo>
                    <a:pt x="252" y="234"/>
                  </a:lnTo>
                  <a:lnTo>
                    <a:pt x="243" y="239"/>
                  </a:lnTo>
                  <a:lnTo>
                    <a:pt x="234" y="243"/>
                  </a:lnTo>
                  <a:lnTo>
                    <a:pt x="225" y="245"/>
                  </a:lnTo>
                  <a:lnTo>
                    <a:pt x="215" y="247"/>
                  </a:lnTo>
                  <a:lnTo>
                    <a:pt x="205" y="247"/>
                  </a:lnTo>
                  <a:lnTo>
                    <a:pt x="195" y="247"/>
                  </a:lnTo>
                  <a:lnTo>
                    <a:pt x="185" y="245"/>
                  </a:lnTo>
                  <a:lnTo>
                    <a:pt x="176" y="243"/>
                  </a:lnTo>
                  <a:lnTo>
                    <a:pt x="166" y="239"/>
                  </a:lnTo>
                  <a:lnTo>
                    <a:pt x="157" y="234"/>
                  </a:lnTo>
                  <a:lnTo>
                    <a:pt x="150" y="229"/>
                  </a:lnTo>
                  <a:lnTo>
                    <a:pt x="142" y="223"/>
                  </a:lnTo>
                  <a:lnTo>
                    <a:pt x="135" y="216"/>
                  </a:lnTo>
                  <a:lnTo>
                    <a:pt x="128" y="208"/>
                  </a:lnTo>
                  <a:lnTo>
                    <a:pt x="123" y="199"/>
                  </a:lnTo>
                  <a:lnTo>
                    <a:pt x="118" y="191"/>
                  </a:lnTo>
                  <a:lnTo>
                    <a:pt x="113" y="181"/>
                  </a:lnTo>
                  <a:lnTo>
                    <a:pt x="110" y="171"/>
                  </a:lnTo>
                  <a:lnTo>
                    <a:pt x="108" y="160"/>
                  </a:lnTo>
                  <a:lnTo>
                    <a:pt x="107" y="150"/>
                  </a:lnTo>
                  <a:lnTo>
                    <a:pt x="106" y="139"/>
                  </a:lnTo>
                  <a:close/>
                  <a:moveTo>
                    <a:pt x="205" y="30"/>
                  </a:moveTo>
                  <a:lnTo>
                    <a:pt x="213" y="30"/>
                  </a:lnTo>
                  <a:lnTo>
                    <a:pt x="222" y="31"/>
                  </a:lnTo>
                  <a:lnTo>
                    <a:pt x="229" y="33"/>
                  </a:lnTo>
                  <a:lnTo>
                    <a:pt x="237" y="36"/>
                  </a:lnTo>
                  <a:lnTo>
                    <a:pt x="244" y="39"/>
                  </a:lnTo>
                  <a:lnTo>
                    <a:pt x="252" y="43"/>
                  </a:lnTo>
                  <a:lnTo>
                    <a:pt x="258" y="47"/>
                  </a:lnTo>
                  <a:lnTo>
                    <a:pt x="265" y="52"/>
                  </a:lnTo>
                  <a:lnTo>
                    <a:pt x="271" y="58"/>
                  </a:lnTo>
                  <a:lnTo>
                    <a:pt x="276" y="64"/>
                  </a:lnTo>
                  <a:lnTo>
                    <a:pt x="282" y="70"/>
                  </a:lnTo>
                  <a:lnTo>
                    <a:pt x="286" y="78"/>
                  </a:lnTo>
                  <a:lnTo>
                    <a:pt x="290" y="85"/>
                  </a:lnTo>
                  <a:lnTo>
                    <a:pt x="295" y="93"/>
                  </a:lnTo>
                  <a:lnTo>
                    <a:pt x="297" y="100"/>
                  </a:lnTo>
                  <a:lnTo>
                    <a:pt x="300" y="109"/>
                  </a:lnTo>
                  <a:lnTo>
                    <a:pt x="294" y="111"/>
                  </a:lnTo>
                  <a:lnTo>
                    <a:pt x="287" y="113"/>
                  </a:lnTo>
                  <a:lnTo>
                    <a:pt x="280" y="113"/>
                  </a:lnTo>
                  <a:lnTo>
                    <a:pt x="272" y="112"/>
                  </a:lnTo>
                  <a:lnTo>
                    <a:pt x="264" y="111"/>
                  </a:lnTo>
                  <a:lnTo>
                    <a:pt x="254" y="107"/>
                  </a:lnTo>
                  <a:lnTo>
                    <a:pt x="250" y="104"/>
                  </a:lnTo>
                  <a:lnTo>
                    <a:pt x="245" y="100"/>
                  </a:lnTo>
                  <a:lnTo>
                    <a:pt x="241" y="95"/>
                  </a:lnTo>
                  <a:lnTo>
                    <a:pt x="237" y="90"/>
                  </a:lnTo>
                  <a:lnTo>
                    <a:pt x="235" y="87"/>
                  </a:lnTo>
                  <a:lnTo>
                    <a:pt x="232" y="84"/>
                  </a:lnTo>
                  <a:lnTo>
                    <a:pt x="229" y="83"/>
                  </a:lnTo>
                  <a:lnTo>
                    <a:pt x="226" y="82"/>
                  </a:lnTo>
                  <a:lnTo>
                    <a:pt x="223" y="82"/>
                  </a:lnTo>
                  <a:lnTo>
                    <a:pt x="219" y="82"/>
                  </a:lnTo>
                  <a:lnTo>
                    <a:pt x="216" y="84"/>
                  </a:lnTo>
                  <a:lnTo>
                    <a:pt x="213" y="87"/>
                  </a:lnTo>
                  <a:lnTo>
                    <a:pt x="207" y="92"/>
                  </a:lnTo>
                  <a:lnTo>
                    <a:pt x="201" y="96"/>
                  </a:lnTo>
                  <a:lnTo>
                    <a:pt x="195" y="100"/>
                  </a:lnTo>
                  <a:lnTo>
                    <a:pt x="189" y="104"/>
                  </a:lnTo>
                  <a:lnTo>
                    <a:pt x="181" y="107"/>
                  </a:lnTo>
                  <a:lnTo>
                    <a:pt x="175" y="109"/>
                  </a:lnTo>
                  <a:lnTo>
                    <a:pt x="167" y="110"/>
                  </a:lnTo>
                  <a:lnTo>
                    <a:pt x="161" y="112"/>
                  </a:lnTo>
                  <a:lnTo>
                    <a:pt x="147" y="112"/>
                  </a:lnTo>
                  <a:lnTo>
                    <a:pt x="134" y="112"/>
                  </a:lnTo>
                  <a:lnTo>
                    <a:pt x="121" y="109"/>
                  </a:lnTo>
                  <a:lnTo>
                    <a:pt x="111" y="106"/>
                  </a:lnTo>
                  <a:lnTo>
                    <a:pt x="113" y="97"/>
                  </a:lnTo>
                  <a:lnTo>
                    <a:pt x="117" y="90"/>
                  </a:lnTo>
                  <a:lnTo>
                    <a:pt x="120" y="82"/>
                  </a:lnTo>
                  <a:lnTo>
                    <a:pt x="124" y="75"/>
                  </a:lnTo>
                  <a:lnTo>
                    <a:pt x="130" y="68"/>
                  </a:lnTo>
                  <a:lnTo>
                    <a:pt x="135" y="62"/>
                  </a:lnTo>
                  <a:lnTo>
                    <a:pt x="140" y="56"/>
                  </a:lnTo>
                  <a:lnTo>
                    <a:pt x="146" y="51"/>
                  </a:lnTo>
                  <a:lnTo>
                    <a:pt x="152" y="47"/>
                  </a:lnTo>
                  <a:lnTo>
                    <a:pt x="159" y="43"/>
                  </a:lnTo>
                  <a:lnTo>
                    <a:pt x="166" y="38"/>
                  </a:lnTo>
                  <a:lnTo>
                    <a:pt x="174" y="35"/>
                  </a:lnTo>
                  <a:lnTo>
                    <a:pt x="181" y="33"/>
                  </a:lnTo>
                  <a:lnTo>
                    <a:pt x="189" y="31"/>
                  </a:lnTo>
                  <a:lnTo>
                    <a:pt x="197" y="30"/>
                  </a:lnTo>
                  <a:lnTo>
                    <a:pt x="205" y="30"/>
                  </a:lnTo>
                  <a:close/>
                  <a:moveTo>
                    <a:pt x="362" y="312"/>
                  </a:moveTo>
                  <a:lnTo>
                    <a:pt x="276" y="288"/>
                  </a:lnTo>
                  <a:lnTo>
                    <a:pt x="276" y="254"/>
                  </a:lnTo>
                  <a:lnTo>
                    <a:pt x="289" y="244"/>
                  </a:lnTo>
                  <a:lnTo>
                    <a:pt x="300" y="232"/>
                  </a:lnTo>
                  <a:lnTo>
                    <a:pt x="310" y="219"/>
                  </a:lnTo>
                  <a:lnTo>
                    <a:pt x="318" y="204"/>
                  </a:lnTo>
                  <a:lnTo>
                    <a:pt x="325" y="189"/>
                  </a:lnTo>
                  <a:lnTo>
                    <a:pt x="329" y="173"/>
                  </a:lnTo>
                  <a:lnTo>
                    <a:pt x="332" y="156"/>
                  </a:lnTo>
                  <a:lnTo>
                    <a:pt x="333" y="139"/>
                  </a:lnTo>
                  <a:lnTo>
                    <a:pt x="333" y="124"/>
                  </a:lnTo>
                  <a:lnTo>
                    <a:pt x="331" y="111"/>
                  </a:lnTo>
                  <a:lnTo>
                    <a:pt x="328" y="97"/>
                  </a:lnTo>
                  <a:lnTo>
                    <a:pt x="324" y="84"/>
                  </a:lnTo>
                  <a:lnTo>
                    <a:pt x="318" y="73"/>
                  </a:lnTo>
                  <a:lnTo>
                    <a:pt x="312" y="61"/>
                  </a:lnTo>
                  <a:lnTo>
                    <a:pt x="304" y="50"/>
                  </a:lnTo>
                  <a:lnTo>
                    <a:pt x="296" y="40"/>
                  </a:lnTo>
                  <a:lnTo>
                    <a:pt x="287" y="32"/>
                  </a:lnTo>
                  <a:lnTo>
                    <a:pt x="276" y="23"/>
                  </a:lnTo>
                  <a:lnTo>
                    <a:pt x="266" y="17"/>
                  </a:lnTo>
                  <a:lnTo>
                    <a:pt x="255" y="10"/>
                  </a:lnTo>
                  <a:lnTo>
                    <a:pt x="243" y="6"/>
                  </a:lnTo>
                  <a:lnTo>
                    <a:pt x="230" y="3"/>
                  </a:lnTo>
                  <a:lnTo>
                    <a:pt x="217" y="1"/>
                  </a:lnTo>
                  <a:lnTo>
                    <a:pt x="205" y="0"/>
                  </a:lnTo>
                  <a:lnTo>
                    <a:pt x="192" y="1"/>
                  </a:lnTo>
                  <a:lnTo>
                    <a:pt x="179" y="3"/>
                  </a:lnTo>
                  <a:lnTo>
                    <a:pt x="167" y="6"/>
                  </a:lnTo>
                  <a:lnTo>
                    <a:pt x="154" y="10"/>
                  </a:lnTo>
                  <a:lnTo>
                    <a:pt x="143" y="17"/>
                  </a:lnTo>
                  <a:lnTo>
                    <a:pt x="133" y="23"/>
                  </a:lnTo>
                  <a:lnTo>
                    <a:pt x="123" y="32"/>
                  </a:lnTo>
                  <a:lnTo>
                    <a:pt x="113" y="40"/>
                  </a:lnTo>
                  <a:lnTo>
                    <a:pt x="105" y="50"/>
                  </a:lnTo>
                  <a:lnTo>
                    <a:pt x="98" y="61"/>
                  </a:lnTo>
                  <a:lnTo>
                    <a:pt x="92" y="73"/>
                  </a:lnTo>
                  <a:lnTo>
                    <a:pt x="86" y="84"/>
                  </a:lnTo>
                  <a:lnTo>
                    <a:pt x="81" y="97"/>
                  </a:lnTo>
                  <a:lnTo>
                    <a:pt x="78" y="111"/>
                  </a:lnTo>
                  <a:lnTo>
                    <a:pt x="77" y="124"/>
                  </a:lnTo>
                  <a:lnTo>
                    <a:pt x="76" y="139"/>
                  </a:lnTo>
                  <a:lnTo>
                    <a:pt x="77" y="156"/>
                  </a:lnTo>
                  <a:lnTo>
                    <a:pt x="80" y="173"/>
                  </a:lnTo>
                  <a:lnTo>
                    <a:pt x="85" y="189"/>
                  </a:lnTo>
                  <a:lnTo>
                    <a:pt x="92" y="204"/>
                  </a:lnTo>
                  <a:lnTo>
                    <a:pt x="100" y="219"/>
                  </a:lnTo>
                  <a:lnTo>
                    <a:pt x="109" y="232"/>
                  </a:lnTo>
                  <a:lnTo>
                    <a:pt x="121" y="244"/>
                  </a:lnTo>
                  <a:lnTo>
                    <a:pt x="133" y="254"/>
                  </a:lnTo>
                  <a:lnTo>
                    <a:pt x="133" y="288"/>
                  </a:lnTo>
                  <a:lnTo>
                    <a:pt x="47" y="312"/>
                  </a:lnTo>
                  <a:lnTo>
                    <a:pt x="37" y="316"/>
                  </a:lnTo>
                  <a:lnTo>
                    <a:pt x="29" y="321"/>
                  </a:lnTo>
                  <a:lnTo>
                    <a:pt x="21" y="328"/>
                  </a:lnTo>
                  <a:lnTo>
                    <a:pt x="14" y="336"/>
                  </a:lnTo>
                  <a:lnTo>
                    <a:pt x="8" y="345"/>
                  </a:lnTo>
                  <a:lnTo>
                    <a:pt x="4" y="355"/>
                  </a:lnTo>
                  <a:lnTo>
                    <a:pt x="1" y="364"/>
                  </a:lnTo>
                  <a:lnTo>
                    <a:pt x="0" y="375"/>
                  </a:lnTo>
                  <a:lnTo>
                    <a:pt x="0" y="409"/>
                  </a:lnTo>
                  <a:lnTo>
                    <a:pt x="186" y="409"/>
                  </a:lnTo>
                  <a:lnTo>
                    <a:pt x="224" y="409"/>
                  </a:lnTo>
                  <a:lnTo>
                    <a:pt x="409" y="409"/>
                  </a:lnTo>
                  <a:lnTo>
                    <a:pt x="409" y="375"/>
                  </a:lnTo>
                  <a:lnTo>
                    <a:pt x="408" y="364"/>
                  </a:lnTo>
                  <a:lnTo>
                    <a:pt x="406" y="355"/>
                  </a:lnTo>
                  <a:lnTo>
                    <a:pt x="402" y="345"/>
                  </a:lnTo>
                  <a:lnTo>
                    <a:pt x="395" y="336"/>
                  </a:lnTo>
                  <a:lnTo>
                    <a:pt x="389" y="328"/>
                  </a:lnTo>
                  <a:lnTo>
                    <a:pt x="380" y="321"/>
                  </a:lnTo>
                  <a:lnTo>
                    <a:pt x="372" y="316"/>
                  </a:lnTo>
                  <a:lnTo>
                    <a:pt x="362" y="31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6" name="Freeform 90"/>
            <p:cNvSpPr>
              <a:spLocks/>
            </p:cNvSpPr>
            <p:nvPr/>
          </p:nvSpPr>
          <p:spPr bwMode="auto">
            <a:xfrm>
              <a:off x="5507038" y="2060575"/>
              <a:ext cx="39688" cy="39688"/>
            </a:xfrm>
            <a:custGeom>
              <a:avLst/>
              <a:gdLst>
                <a:gd name="T0" fmla="*/ 121 w 126"/>
                <a:gd name="T1" fmla="*/ 99 h 125"/>
                <a:gd name="T2" fmla="*/ 26 w 126"/>
                <a:gd name="T3" fmla="*/ 4 h 125"/>
                <a:gd name="T4" fmla="*/ 24 w 126"/>
                <a:gd name="T5" fmla="*/ 2 h 125"/>
                <a:gd name="T6" fmla="*/ 21 w 126"/>
                <a:gd name="T7" fmla="*/ 1 h 125"/>
                <a:gd name="T8" fmla="*/ 18 w 126"/>
                <a:gd name="T9" fmla="*/ 0 h 125"/>
                <a:gd name="T10" fmla="*/ 15 w 126"/>
                <a:gd name="T11" fmla="*/ 0 h 125"/>
                <a:gd name="T12" fmla="*/ 13 w 126"/>
                <a:gd name="T13" fmla="*/ 0 h 125"/>
                <a:gd name="T14" fmla="*/ 10 w 126"/>
                <a:gd name="T15" fmla="*/ 1 h 125"/>
                <a:gd name="T16" fmla="*/ 7 w 126"/>
                <a:gd name="T17" fmla="*/ 2 h 125"/>
                <a:gd name="T18" fmla="*/ 4 w 126"/>
                <a:gd name="T19" fmla="*/ 4 h 125"/>
                <a:gd name="T20" fmla="*/ 2 w 126"/>
                <a:gd name="T21" fmla="*/ 7 h 125"/>
                <a:gd name="T22" fmla="*/ 1 w 126"/>
                <a:gd name="T23" fmla="*/ 9 h 125"/>
                <a:gd name="T24" fmla="*/ 0 w 126"/>
                <a:gd name="T25" fmla="*/ 12 h 125"/>
                <a:gd name="T26" fmla="*/ 0 w 126"/>
                <a:gd name="T27" fmla="*/ 15 h 125"/>
                <a:gd name="T28" fmla="*/ 0 w 126"/>
                <a:gd name="T29" fmla="*/ 17 h 125"/>
                <a:gd name="T30" fmla="*/ 1 w 126"/>
                <a:gd name="T31" fmla="*/ 21 h 125"/>
                <a:gd name="T32" fmla="*/ 2 w 126"/>
                <a:gd name="T33" fmla="*/ 23 h 125"/>
                <a:gd name="T34" fmla="*/ 4 w 126"/>
                <a:gd name="T35" fmla="*/ 26 h 125"/>
                <a:gd name="T36" fmla="*/ 100 w 126"/>
                <a:gd name="T37" fmla="*/ 120 h 125"/>
                <a:gd name="T38" fmla="*/ 102 w 126"/>
                <a:gd name="T39" fmla="*/ 122 h 125"/>
                <a:gd name="T40" fmla="*/ 104 w 126"/>
                <a:gd name="T41" fmla="*/ 123 h 125"/>
                <a:gd name="T42" fmla="*/ 107 w 126"/>
                <a:gd name="T43" fmla="*/ 125 h 125"/>
                <a:gd name="T44" fmla="*/ 111 w 126"/>
                <a:gd name="T45" fmla="*/ 125 h 125"/>
                <a:gd name="T46" fmla="*/ 113 w 126"/>
                <a:gd name="T47" fmla="*/ 125 h 125"/>
                <a:gd name="T48" fmla="*/ 116 w 126"/>
                <a:gd name="T49" fmla="*/ 123 h 125"/>
                <a:gd name="T50" fmla="*/ 118 w 126"/>
                <a:gd name="T51" fmla="*/ 122 h 125"/>
                <a:gd name="T52" fmla="*/ 121 w 126"/>
                <a:gd name="T53" fmla="*/ 120 h 125"/>
                <a:gd name="T54" fmla="*/ 122 w 126"/>
                <a:gd name="T55" fmla="*/ 118 h 125"/>
                <a:gd name="T56" fmla="*/ 125 w 126"/>
                <a:gd name="T57" fmla="*/ 115 h 125"/>
                <a:gd name="T58" fmla="*/ 125 w 126"/>
                <a:gd name="T59" fmla="*/ 113 h 125"/>
                <a:gd name="T60" fmla="*/ 126 w 126"/>
                <a:gd name="T61" fmla="*/ 110 h 125"/>
                <a:gd name="T62" fmla="*/ 125 w 126"/>
                <a:gd name="T63" fmla="*/ 106 h 125"/>
                <a:gd name="T64" fmla="*/ 125 w 126"/>
                <a:gd name="T65" fmla="*/ 104 h 125"/>
                <a:gd name="T66" fmla="*/ 122 w 126"/>
                <a:gd name="T67" fmla="*/ 101 h 125"/>
                <a:gd name="T68" fmla="*/ 121 w 126"/>
                <a:gd name="T69" fmla="*/ 9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6" h="125">
                  <a:moveTo>
                    <a:pt x="121" y="99"/>
                  </a:move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100" y="120"/>
                  </a:lnTo>
                  <a:lnTo>
                    <a:pt x="102" y="122"/>
                  </a:lnTo>
                  <a:lnTo>
                    <a:pt x="104" y="123"/>
                  </a:lnTo>
                  <a:lnTo>
                    <a:pt x="107" y="125"/>
                  </a:lnTo>
                  <a:lnTo>
                    <a:pt x="111" y="125"/>
                  </a:lnTo>
                  <a:lnTo>
                    <a:pt x="113" y="125"/>
                  </a:lnTo>
                  <a:lnTo>
                    <a:pt x="116" y="123"/>
                  </a:lnTo>
                  <a:lnTo>
                    <a:pt x="118" y="122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5" y="115"/>
                  </a:lnTo>
                  <a:lnTo>
                    <a:pt x="125" y="113"/>
                  </a:lnTo>
                  <a:lnTo>
                    <a:pt x="126" y="110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2" y="101"/>
                  </a:lnTo>
                  <a:lnTo>
                    <a:pt x="121" y="99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7" name="Freeform 91"/>
            <p:cNvSpPr>
              <a:spLocks/>
            </p:cNvSpPr>
            <p:nvPr/>
          </p:nvSpPr>
          <p:spPr bwMode="auto">
            <a:xfrm>
              <a:off x="5670550" y="2060575"/>
              <a:ext cx="38100" cy="39688"/>
            </a:xfrm>
            <a:custGeom>
              <a:avLst/>
              <a:gdLst>
                <a:gd name="T0" fmla="*/ 98 w 124"/>
                <a:gd name="T1" fmla="*/ 4 h 125"/>
                <a:gd name="T2" fmla="*/ 4 w 124"/>
                <a:gd name="T3" fmla="*/ 99 h 125"/>
                <a:gd name="T4" fmla="*/ 2 w 124"/>
                <a:gd name="T5" fmla="*/ 101 h 125"/>
                <a:gd name="T6" fmla="*/ 1 w 124"/>
                <a:gd name="T7" fmla="*/ 104 h 125"/>
                <a:gd name="T8" fmla="*/ 0 w 124"/>
                <a:gd name="T9" fmla="*/ 106 h 125"/>
                <a:gd name="T10" fmla="*/ 0 w 124"/>
                <a:gd name="T11" fmla="*/ 110 h 125"/>
                <a:gd name="T12" fmla="*/ 0 w 124"/>
                <a:gd name="T13" fmla="*/ 113 h 125"/>
                <a:gd name="T14" fmla="*/ 1 w 124"/>
                <a:gd name="T15" fmla="*/ 115 h 125"/>
                <a:gd name="T16" fmla="*/ 2 w 124"/>
                <a:gd name="T17" fmla="*/ 118 h 125"/>
                <a:gd name="T18" fmla="*/ 4 w 124"/>
                <a:gd name="T19" fmla="*/ 120 h 125"/>
                <a:gd name="T20" fmla="*/ 6 w 124"/>
                <a:gd name="T21" fmla="*/ 122 h 125"/>
                <a:gd name="T22" fmla="*/ 8 w 124"/>
                <a:gd name="T23" fmla="*/ 123 h 125"/>
                <a:gd name="T24" fmla="*/ 11 w 124"/>
                <a:gd name="T25" fmla="*/ 125 h 125"/>
                <a:gd name="T26" fmla="*/ 15 w 124"/>
                <a:gd name="T27" fmla="*/ 125 h 125"/>
                <a:gd name="T28" fmla="*/ 17 w 124"/>
                <a:gd name="T29" fmla="*/ 125 h 125"/>
                <a:gd name="T30" fmla="*/ 20 w 124"/>
                <a:gd name="T31" fmla="*/ 123 h 125"/>
                <a:gd name="T32" fmla="*/ 22 w 124"/>
                <a:gd name="T33" fmla="*/ 122 h 125"/>
                <a:gd name="T34" fmla="*/ 25 w 124"/>
                <a:gd name="T35" fmla="*/ 120 h 125"/>
                <a:gd name="T36" fmla="*/ 120 w 124"/>
                <a:gd name="T37" fmla="*/ 25 h 125"/>
                <a:gd name="T38" fmla="*/ 122 w 124"/>
                <a:gd name="T39" fmla="*/ 23 h 125"/>
                <a:gd name="T40" fmla="*/ 123 w 124"/>
                <a:gd name="T41" fmla="*/ 21 h 125"/>
                <a:gd name="T42" fmla="*/ 124 w 124"/>
                <a:gd name="T43" fmla="*/ 17 h 125"/>
                <a:gd name="T44" fmla="*/ 124 w 124"/>
                <a:gd name="T45" fmla="*/ 15 h 125"/>
                <a:gd name="T46" fmla="*/ 124 w 124"/>
                <a:gd name="T47" fmla="*/ 12 h 125"/>
                <a:gd name="T48" fmla="*/ 123 w 124"/>
                <a:gd name="T49" fmla="*/ 9 h 125"/>
                <a:gd name="T50" fmla="*/ 122 w 124"/>
                <a:gd name="T51" fmla="*/ 7 h 125"/>
                <a:gd name="T52" fmla="*/ 120 w 124"/>
                <a:gd name="T53" fmla="*/ 4 h 125"/>
                <a:gd name="T54" fmla="*/ 118 w 124"/>
                <a:gd name="T55" fmla="*/ 2 h 125"/>
                <a:gd name="T56" fmla="*/ 114 w 124"/>
                <a:gd name="T57" fmla="*/ 1 h 125"/>
                <a:gd name="T58" fmla="*/ 112 w 124"/>
                <a:gd name="T59" fmla="*/ 0 h 125"/>
                <a:gd name="T60" fmla="*/ 109 w 124"/>
                <a:gd name="T61" fmla="*/ 0 h 125"/>
                <a:gd name="T62" fmla="*/ 107 w 124"/>
                <a:gd name="T63" fmla="*/ 0 h 125"/>
                <a:gd name="T64" fmla="*/ 104 w 124"/>
                <a:gd name="T65" fmla="*/ 1 h 125"/>
                <a:gd name="T66" fmla="*/ 100 w 124"/>
                <a:gd name="T67" fmla="*/ 2 h 125"/>
                <a:gd name="T68" fmla="*/ 98 w 124"/>
                <a:gd name="T69" fmla="*/ 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4" h="125">
                  <a:moveTo>
                    <a:pt x="98" y="4"/>
                  </a:moveTo>
                  <a:lnTo>
                    <a:pt x="4" y="99"/>
                  </a:lnTo>
                  <a:lnTo>
                    <a:pt x="2" y="101"/>
                  </a:lnTo>
                  <a:lnTo>
                    <a:pt x="1" y="104"/>
                  </a:lnTo>
                  <a:lnTo>
                    <a:pt x="0" y="106"/>
                  </a:lnTo>
                  <a:lnTo>
                    <a:pt x="0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2" y="118"/>
                  </a:lnTo>
                  <a:lnTo>
                    <a:pt x="4" y="120"/>
                  </a:lnTo>
                  <a:lnTo>
                    <a:pt x="6" y="122"/>
                  </a:lnTo>
                  <a:lnTo>
                    <a:pt x="8" y="123"/>
                  </a:lnTo>
                  <a:lnTo>
                    <a:pt x="11" y="125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20" y="123"/>
                  </a:lnTo>
                  <a:lnTo>
                    <a:pt x="22" y="122"/>
                  </a:lnTo>
                  <a:lnTo>
                    <a:pt x="25" y="120"/>
                  </a:lnTo>
                  <a:lnTo>
                    <a:pt x="120" y="25"/>
                  </a:lnTo>
                  <a:lnTo>
                    <a:pt x="122" y="23"/>
                  </a:lnTo>
                  <a:lnTo>
                    <a:pt x="123" y="21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3" y="9"/>
                  </a:lnTo>
                  <a:lnTo>
                    <a:pt x="122" y="7"/>
                  </a:lnTo>
                  <a:lnTo>
                    <a:pt x="120" y="4"/>
                  </a:lnTo>
                  <a:lnTo>
                    <a:pt x="118" y="2"/>
                  </a:lnTo>
                  <a:lnTo>
                    <a:pt x="114" y="1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104" y="1"/>
                  </a:lnTo>
                  <a:lnTo>
                    <a:pt x="100" y="2"/>
                  </a:lnTo>
                  <a:lnTo>
                    <a:pt x="98" y="4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grpSp>
        <p:nvGrpSpPr>
          <p:cNvPr id="78" name="Group 16">
            <a:extLst>
              <a:ext uri="{FF2B5EF4-FFF2-40B4-BE49-F238E27FC236}">
                <a16:creationId xmlns:a16="http://schemas.microsoft.com/office/drawing/2014/main" xmlns="" id="{3B4B89B9-C79A-4357-ADCD-80A19E45B1A1}"/>
              </a:ext>
            </a:extLst>
          </p:cNvPr>
          <p:cNvGrpSpPr/>
          <p:nvPr/>
        </p:nvGrpSpPr>
        <p:grpSpPr>
          <a:xfrm>
            <a:off x="2483768" y="4446805"/>
            <a:ext cx="1550267" cy="1307409"/>
            <a:chOff x="6011399" y="4748135"/>
            <a:chExt cx="1550267" cy="1307409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xmlns="" id="{446AB1B3-BE09-4349-B7EB-59C1F61E5269}"/>
                </a:ext>
              </a:extLst>
            </p:cNvPr>
            <p:cNvSpPr txBox="1"/>
            <p:nvPr/>
          </p:nvSpPr>
          <p:spPr>
            <a:xfrm>
              <a:off x="6011399" y="4748135"/>
              <a:ext cx="1550267" cy="52322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EVDS Registration</a:t>
              </a:r>
              <a:endPara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xmlns="" id="{BB94FE94-934C-4A3B-8199-B39CFC6466D4}"/>
                </a:ext>
              </a:extLst>
            </p:cNvPr>
            <p:cNvSpPr txBox="1"/>
            <p:nvPr/>
          </p:nvSpPr>
          <p:spPr>
            <a:xfrm>
              <a:off x="6011399" y="5224547"/>
              <a:ext cx="155026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Registration opens for &gt;35 year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entury Gothic"/>
                  <a:ea typeface="+mn-ea"/>
                  <a:cs typeface="Arial" pitchFamily="34" charset="0"/>
                </a:rPr>
                <a:t>Access opened for vaccinations</a:t>
              </a:r>
              <a:endParaRPr kumimoji="0" lang="ko-KR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Arial" pitchFamily="34" charset="0"/>
              </a:endParaRPr>
            </a:p>
          </p:txBody>
        </p:sp>
      </p:grpSp>
      <p:sp>
        <p:nvSpPr>
          <p:cNvPr id="81" name="Rectangle 30">
            <a:extLst>
              <a:ext uri="{FF2B5EF4-FFF2-40B4-BE49-F238E27FC236}">
                <a16:creationId xmlns:a16="http://schemas.microsoft.com/office/drawing/2014/main" xmlns="" id="{809222C3-3810-4E24-9ACC-AD058170B6BC}"/>
              </a:ext>
            </a:extLst>
          </p:cNvPr>
          <p:cNvSpPr/>
          <p:nvPr/>
        </p:nvSpPr>
        <p:spPr>
          <a:xfrm>
            <a:off x="3041916" y="3934353"/>
            <a:ext cx="464493" cy="463135"/>
          </a:xfrm>
          <a:custGeom>
            <a:avLst/>
            <a:gdLst/>
            <a:ahLst/>
            <a:cxnLst/>
            <a:rect l="l" t="t" r="r" b="b"/>
            <a:pathLst>
              <a:path w="3240000" h="3230531">
                <a:moveTo>
                  <a:pt x="720000" y="2697973"/>
                </a:moveTo>
                <a:cubicBezTo>
                  <a:pt x="680235" y="2697973"/>
                  <a:pt x="648000" y="2730208"/>
                  <a:pt x="648000" y="2769973"/>
                </a:cubicBezTo>
                <a:cubicBezTo>
                  <a:pt x="648000" y="2809738"/>
                  <a:pt x="680235" y="2841973"/>
                  <a:pt x="720000" y="2841973"/>
                </a:cubicBezTo>
                <a:lnTo>
                  <a:pt x="2520000" y="2841973"/>
                </a:lnTo>
                <a:cubicBezTo>
                  <a:pt x="2559765" y="2841973"/>
                  <a:pt x="2592000" y="2809738"/>
                  <a:pt x="2592000" y="2769973"/>
                </a:cubicBezTo>
                <a:cubicBezTo>
                  <a:pt x="2592000" y="2730208"/>
                  <a:pt x="2559765" y="2697973"/>
                  <a:pt x="2520000" y="2697973"/>
                </a:cubicBezTo>
                <a:close/>
                <a:moveTo>
                  <a:pt x="720000" y="2366733"/>
                </a:moveTo>
                <a:cubicBezTo>
                  <a:pt x="680235" y="2366733"/>
                  <a:pt x="648000" y="2398968"/>
                  <a:pt x="648000" y="2438733"/>
                </a:cubicBezTo>
                <a:cubicBezTo>
                  <a:pt x="648000" y="2478498"/>
                  <a:pt x="680235" y="2510733"/>
                  <a:pt x="720000" y="2510733"/>
                </a:cubicBezTo>
                <a:lnTo>
                  <a:pt x="2520000" y="2510733"/>
                </a:lnTo>
                <a:cubicBezTo>
                  <a:pt x="2559765" y="2510733"/>
                  <a:pt x="2592000" y="2478498"/>
                  <a:pt x="2592000" y="2438733"/>
                </a:cubicBezTo>
                <a:cubicBezTo>
                  <a:pt x="2592000" y="2398968"/>
                  <a:pt x="2559765" y="2366733"/>
                  <a:pt x="2520000" y="2366733"/>
                </a:cubicBezTo>
                <a:close/>
                <a:moveTo>
                  <a:pt x="720000" y="2035493"/>
                </a:moveTo>
                <a:cubicBezTo>
                  <a:pt x="680235" y="2035493"/>
                  <a:pt x="648000" y="2067728"/>
                  <a:pt x="648000" y="2107493"/>
                </a:cubicBezTo>
                <a:cubicBezTo>
                  <a:pt x="648000" y="2147258"/>
                  <a:pt x="680235" y="2179493"/>
                  <a:pt x="720000" y="2179493"/>
                </a:cubicBezTo>
                <a:lnTo>
                  <a:pt x="2520000" y="2179493"/>
                </a:lnTo>
                <a:cubicBezTo>
                  <a:pt x="2559765" y="2179493"/>
                  <a:pt x="2592000" y="2147258"/>
                  <a:pt x="2592000" y="2107493"/>
                </a:cubicBezTo>
                <a:cubicBezTo>
                  <a:pt x="2592000" y="2067728"/>
                  <a:pt x="2559765" y="2035493"/>
                  <a:pt x="2520000" y="2035493"/>
                </a:cubicBezTo>
                <a:close/>
                <a:moveTo>
                  <a:pt x="720000" y="1704253"/>
                </a:moveTo>
                <a:cubicBezTo>
                  <a:pt x="680235" y="1704253"/>
                  <a:pt x="648000" y="1736488"/>
                  <a:pt x="648000" y="1776253"/>
                </a:cubicBezTo>
                <a:cubicBezTo>
                  <a:pt x="648000" y="1816018"/>
                  <a:pt x="680235" y="1848253"/>
                  <a:pt x="720000" y="1848253"/>
                </a:cubicBezTo>
                <a:lnTo>
                  <a:pt x="2520000" y="1848253"/>
                </a:lnTo>
                <a:cubicBezTo>
                  <a:pt x="2559765" y="1848253"/>
                  <a:pt x="2592000" y="1816018"/>
                  <a:pt x="2592000" y="1776253"/>
                </a:cubicBezTo>
                <a:cubicBezTo>
                  <a:pt x="2592000" y="1736488"/>
                  <a:pt x="2559765" y="1704253"/>
                  <a:pt x="2520000" y="1704253"/>
                </a:cubicBezTo>
                <a:close/>
                <a:moveTo>
                  <a:pt x="720000" y="1373013"/>
                </a:moveTo>
                <a:cubicBezTo>
                  <a:pt x="680235" y="1373013"/>
                  <a:pt x="648000" y="1405248"/>
                  <a:pt x="648000" y="1445013"/>
                </a:cubicBezTo>
                <a:cubicBezTo>
                  <a:pt x="648000" y="1484778"/>
                  <a:pt x="680235" y="1517013"/>
                  <a:pt x="720000" y="1517013"/>
                </a:cubicBezTo>
                <a:lnTo>
                  <a:pt x="2520000" y="1517013"/>
                </a:lnTo>
                <a:cubicBezTo>
                  <a:pt x="2559765" y="1517013"/>
                  <a:pt x="2592000" y="1484778"/>
                  <a:pt x="2592000" y="1445013"/>
                </a:cubicBezTo>
                <a:cubicBezTo>
                  <a:pt x="2592000" y="1405248"/>
                  <a:pt x="2559765" y="1373013"/>
                  <a:pt x="2520000" y="1373013"/>
                </a:cubicBezTo>
                <a:close/>
                <a:moveTo>
                  <a:pt x="720000" y="1041773"/>
                </a:moveTo>
                <a:cubicBezTo>
                  <a:pt x="680235" y="1041773"/>
                  <a:pt x="648000" y="1074008"/>
                  <a:pt x="648000" y="1113773"/>
                </a:cubicBezTo>
                <a:cubicBezTo>
                  <a:pt x="648000" y="1153538"/>
                  <a:pt x="680235" y="1185773"/>
                  <a:pt x="720000" y="1185773"/>
                </a:cubicBezTo>
                <a:lnTo>
                  <a:pt x="2520000" y="1185773"/>
                </a:lnTo>
                <a:cubicBezTo>
                  <a:pt x="2559765" y="1185773"/>
                  <a:pt x="2592000" y="1153538"/>
                  <a:pt x="2592000" y="1113773"/>
                </a:cubicBezTo>
                <a:cubicBezTo>
                  <a:pt x="2592000" y="1074008"/>
                  <a:pt x="2559765" y="1041773"/>
                  <a:pt x="2520000" y="1041773"/>
                </a:cubicBezTo>
                <a:close/>
                <a:moveTo>
                  <a:pt x="0" y="305988"/>
                </a:moveTo>
                <a:lnTo>
                  <a:pt x="181957" y="305988"/>
                </a:lnTo>
                <a:lnTo>
                  <a:pt x="181957" y="470032"/>
                </a:lnTo>
                <a:cubicBezTo>
                  <a:pt x="181957" y="599267"/>
                  <a:pt x="286722" y="704032"/>
                  <a:pt x="415957" y="704032"/>
                </a:cubicBezTo>
                <a:cubicBezTo>
                  <a:pt x="545192" y="704032"/>
                  <a:pt x="649957" y="599267"/>
                  <a:pt x="649957" y="470032"/>
                </a:cubicBezTo>
                <a:lnTo>
                  <a:pt x="649957" y="305988"/>
                </a:lnTo>
                <a:lnTo>
                  <a:pt x="802357" y="305988"/>
                </a:lnTo>
                <a:lnTo>
                  <a:pt x="802357" y="470031"/>
                </a:lnTo>
                <a:cubicBezTo>
                  <a:pt x="802357" y="599266"/>
                  <a:pt x="907122" y="704031"/>
                  <a:pt x="1036357" y="704031"/>
                </a:cubicBezTo>
                <a:cubicBezTo>
                  <a:pt x="1165592" y="704031"/>
                  <a:pt x="1270357" y="599266"/>
                  <a:pt x="1270357" y="470031"/>
                </a:cubicBezTo>
                <a:lnTo>
                  <a:pt x="1270357" y="305988"/>
                </a:lnTo>
                <a:lnTo>
                  <a:pt x="1422757" y="305988"/>
                </a:lnTo>
                <a:lnTo>
                  <a:pt x="1422757" y="470030"/>
                </a:lnTo>
                <a:cubicBezTo>
                  <a:pt x="1422757" y="599265"/>
                  <a:pt x="1527522" y="704030"/>
                  <a:pt x="1656757" y="704030"/>
                </a:cubicBezTo>
                <a:cubicBezTo>
                  <a:pt x="1785992" y="704030"/>
                  <a:pt x="1890757" y="599265"/>
                  <a:pt x="1890757" y="470030"/>
                </a:cubicBezTo>
                <a:lnTo>
                  <a:pt x="1890757" y="305988"/>
                </a:lnTo>
                <a:lnTo>
                  <a:pt x="2043157" y="305988"/>
                </a:lnTo>
                <a:lnTo>
                  <a:pt x="2043157" y="470029"/>
                </a:lnTo>
                <a:cubicBezTo>
                  <a:pt x="2043157" y="599264"/>
                  <a:pt x="2147922" y="704029"/>
                  <a:pt x="2277157" y="704029"/>
                </a:cubicBezTo>
                <a:cubicBezTo>
                  <a:pt x="2406392" y="704029"/>
                  <a:pt x="2511157" y="599264"/>
                  <a:pt x="2511157" y="470029"/>
                </a:cubicBezTo>
                <a:lnTo>
                  <a:pt x="2511157" y="305988"/>
                </a:lnTo>
                <a:lnTo>
                  <a:pt x="2663557" y="305988"/>
                </a:lnTo>
                <a:lnTo>
                  <a:pt x="2663557" y="470028"/>
                </a:lnTo>
                <a:cubicBezTo>
                  <a:pt x="2663557" y="599263"/>
                  <a:pt x="2768322" y="704028"/>
                  <a:pt x="2897557" y="704028"/>
                </a:cubicBezTo>
                <a:cubicBezTo>
                  <a:pt x="3026792" y="704028"/>
                  <a:pt x="3131557" y="599263"/>
                  <a:pt x="3131557" y="470028"/>
                </a:cubicBezTo>
                <a:lnTo>
                  <a:pt x="3131557" y="305988"/>
                </a:lnTo>
                <a:lnTo>
                  <a:pt x="3240000" y="305988"/>
                </a:lnTo>
                <a:lnTo>
                  <a:pt x="3240000" y="3230531"/>
                </a:lnTo>
                <a:lnTo>
                  <a:pt x="0" y="3230531"/>
                </a:lnTo>
                <a:close/>
                <a:moveTo>
                  <a:pt x="415957" y="4"/>
                </a:moveTo>
                <a:cubicBezTo>
                  <a:pt x="485545" y="4"/>
                  <a:pt x="541957" y="56416"/>
                  <a:pt x="541957" y="126004"/>
                </a:cubicBezTo>
                <a:lnTo>
                  <a:pt x="541957" y="485972"/>
                </a:lnTo>
                <a:cubicBezTo>
                  <a:pt x="541957" y="555560"/>
                  <a:pt x="485545" y="611972"/>
                  <a:pt x="415957" y="611972"/>
                </a:cubicBezTo>
                <a:cubicBezTo>
                  <a:pt x="346369" y="611972"/>
                  <a:pt x="289957" y="555560"/>
                  <a:pt x="289957" y="485972"/>
                </a:cubicBezTo>
                <a:lnTo>
                  <a:pt x="289957" y="126004"/>
                </a:lnTo>
                <a:cubicBezTo>
                  <a:pt x="289957" y="56416"/>
                  <a:pt x="346369" y="4"/>
                  <a:pt x="415957" y="4"/>
                </a:cubicBezTo>
                <a:close/>
                <a:moveTo>
                  <a:pt x="1036357" y="3"/>
                </a:moveTo>
                <a:cubicBezTo>
                  <a:pt x="1105945" y="3"/>
                  <a:pt x="1162357" y="56415"/>
                  <a:pt x="1162357" y="126003"/>
                </a:cubicBezTo>
                <a:lnTo>
                  <a:pt x="1162357" y="485971"/>
                </a:lnTo>
                <a:cubicBezTo>
                  <a:pt x="1162357" y="555559"/>
                  <a:pt x="1105945" y="611971"/>
                  <a:pt x="1036357" y="611971"/>
                </a:cubicBezTo>
                <a:cubicBezTo>
                  <a:pt x="966769" y="611971"/>
                  <a:pt x="910357" y="555559"/>
                  <a:pt x="910357" y="485971"/>
                </a:cubicBezTo>
                <a:lnTo>
                  <a:pt x="910357" y="126003"/>
                </a:lnTo>
                <a:cubicBezTo>
                  <a:pt x="910357" y="56415"/>
                  <a:pt x="966769" y="3"/>
                  <a:pt x="1036357" y="3"/>
                </a:cubicBezTo>
                <a:close/>
                <a:moveTo>
                  <a:pt x="1656757" y="2"/>
                </a:moveTo>
                <a:cubicBezTo>
                  <a:pt x="1726345" y="2"/>
                  <a:pt x="1782757" y="56414"/>
                  <a:pt x="1782757" y="126002"/>
                </a:cubicBezTo>
                <a:lnTo>
                  <a:pt x="1782757" y="485970"/>
                </a:lnTo>
                <a:cubicBezTo>
                  <a:pt x="1782757" y="555558"/>
                  <a:pt x="1726345" y="611970"/>
                  <a:pt x="1656757" y="611970"/>
                </a:cubicBezTo>
                <a:cubicBezTo>
                  <a:pt x="1587169" y="611970"/>
                  <a:pt x="1530757" y="555558"/>
                  <a:pt x="1530757" y="485970"/>
                </a:cubicBezTo>
                <a:lnTo>
                  <a:pt x="1530757" y="126002"/>
                </a:lnTo>
                <a:cubicBezTo>
                  <a:pt x="1530757" y="56414"/>
                  <a:pt x="1587169" y="2"/>
                  <a:pt x="1656757" y="2"/>
                </a:cubicBezTo>
                <a:close/>
                <a:moveTo>
                  <a:pt x="2277157" y="1"/>
                </a:moveTo>
                <a:cubicBezTo>
                  <a:pt x="2346745" y="1"/>
                  <a:pt x="2403157" y="56413"/>
                  <a:pt x="2403157" y="126001"/>
                </a:cubicBezTo>
                <a:lnTo>
                  <a:pt x="2403157" y="485969"/>
                </a:lnTo>
                <a:cubicBezTo>
                  <a:pt x="2403157" y="555557"/>
                  <a:pt x="2346745" y="611969"/>
                  <a:pt x="2277157" y="611969"/>
                </a:cubicBezTo>
                <a:cubicBezTo>
                  <a:pt x="2207569" y="611969"/>
                  <a:pt x="2151157" y="555557"/>
                  <a:pt x="2151157" y="485969"/>
                </a:cubicBezTo>
                <a:lnTo>
                  <a:pt x="2151157" y="126001"/>
                </a:lnTo>
                <a:cubicBezTo>
                  <a:pt x="2151157" y="56413"/>
                  <a:pt x="2207569" y="1"/>
                  <a:pt x="2277157" y="1"/>
                </a:cubicBezTo>
                <a:close/>
                <a:moveTo>
                  <a:pt x="2897557" y="0"/>
                </a:moveTo>
                <a:cubicBezTo>
                  <a:pt x="2967145" y="0"/>
                  <a:pt x="3023557" y="56412"/>
                  <a:pt x="3023557" y="126000"/>
                </a:cubicBezTo>
                <a:lnTo>
                  <a:pt x="3023557" y="485968"/>
                </a:lnTo>
                <a:cubicBezTo>
                  <a:pt x="3023557" y="555556"/>
                  <a:pt x="2967145" y="611968"/>
                  <a:pt x="2897557" y="611968"/>
                </a:cubicBezTo>
                <a:cubicBezTo>
                  <a:pt x="2827969" y="611968"/>
                  <a:pt x="2771557" y="555556"/>
                  <a:pt x="2771557" y="485968"/>
                </a:cubicBezTo>
                <a:lnTo>
                  <a:pt x="2771557" y="126000"/>
                </a:lnTo>
                <a:cubicBezTo>
                  <a:pt x="2771557" y="56412"/>
                  <a:pt x="2827969" y="0"/>
                  <a:pt x="289755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xmlns="" id="{371AAAAF-FAB6-4AB8-8DCF-9FF5E77EA510}"/>
              </a:ext>
            </a:extLst>
          </p:cNvPr>
          <p:cNvSpPr/>
          <p:nvPr/>
        </p:nvSpPr>
        <p:spPr>
          <a:xfrm>
            <a:off x="683568" y="2144728"/>
            <a:ext cx="325871" cy="26319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2117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83592814-711D-436E-9D7A-34914CC72343}"/>
              </a:ext>
            </a:extLst>
          </p:cNvPr>
          <p:cNvSpPr txBox="1">
            <a:spLocks/>
          </p:cNvSpPr>
          <p:nvPr/>
        </p:nvSpPr>
        <p:spPr>
          <a:xfrm>
            <a:off x="44401" y="108454"/>
            <a:ext cx="9055197" cy="419442"/>
          </a:xfrm>
          <a:prstGeom prst="rect">
            <a:avLst/>
          </a:prstGeom>
        </p:spPr>
        <p:txBody>
          <a:bodyPr wrap="none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Integrated testing, case, hospitalisation and mortality trend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A34F11A3-87B7-4F81-A432-32AFC7F7CE2A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261729"/>
            <a:ext cx="9144000" cy="4334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9690298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7236FE9-3CFD-45D4-AAC3-150CB89ECB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528" y="180976"/>
            <a:ext cx="8477574" cy="876300"/>
          </a:xfrm>
        </p:spPr>
        <p:txBody>
          <a:bodyPr>
            <a:normAutofit/>
          </a:bodyPr>
          <a:lstStyle/>
          <a:p>
            <a:r>
              <a:rPr lang="en-GB" sz="2400" dirty="0"/>
              <a:t>Vaccine update: Phases and Prioritisation Groups  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xmlns="" id="{4D2B2A08-0EDD-4702-A4CE-F8D033C3D567}"/>
              </a:ext>
            </a:extLst>
          </p:cNvPr>
          <p:cNvGraphicFramePr/>
          <p:nvPr/>
        </p:nvGraphicFramePr>
        <p:xfrm>
          <a:off x="467544" y="1376772"/>
          <a:ext cx="2664296" cy="33123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3491881" y="1412776"/>
          <a:ext cx="5184578" cy="2958465"/>
        </p:xfrm>
        <a:graphic>
          <a:graphicData uri="http://schemas.openxmlformats.org/drawingml/2006/table">
            <a:tbl>
              <a:tblPr/>
              <a:tblGrid>
                <a:gridCol w="126734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7930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7930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7930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7930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ZA"/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ge in years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+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 - 5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 - 4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- 3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+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5 39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 to 69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6 9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 to 64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7 33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 to 59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1 88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3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 to 54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0 66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 to 49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8 59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to 44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1 30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0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 to 39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2 27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90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to 34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65 37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9 702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2 55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12 18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14 434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65 372 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4716016" y="1700808"/>
            <a:ext cx="2974100" cy="266429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707694" y="1700808"/>
            <a:ext cx="986340" cy="2664296"/>
          </a:xfrm>
          <a:prstGeom prst="rect">
            <a:avLst/>
          </a:prstGeom>
          <a:noFill/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0" name="Up Arrow 9"/>
          <p:cNvSpPr/>
          <p:nvPr/>
        </p:nvSpPr>
        <p:spPr>
          <a:xfrm>
            <a:off x="4942926" y="4509120"/>
            <a:ext cx="2520280" cy="1440160"/>
          </a:xfrm>
          <a:prstGeom prst="up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Up Arrow 10"/>
          <p:cNvSpPr/>
          <p:nvPr/>
        </p:nvSpPr>
        <p:spPr>
          <a:xfrm>
            <a:off x="7707694" y="4509120"/>
            <a:ext cx="1040770" cy="1440160"/>
          </a:xfrm>
          <a:prstGeom prst="upArrow">
            <a:avLst>
              <a:gd name="adj1" fmla="val 50000"/>
              <a:gd name="adj2" fmla="val 6882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751238" y="4921423"/>
            <a:ext cx="9541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hase 3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724128" y="4890646"/>
            <a:ext cx="9541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hase 2</a:t>
            </a:r>
          </a:p>
        </p:txBody>
      </p:sp>
    </p:spTree>
    <p:extLst>
      <p:ext uri="{BB962C8B-B14F-4D97-AF65-F5344CB8AC3E}">
        <p14:creationId xmlns:p14="http://schemas.microsoft.com/office/powerpoint/2010/main" xmlns="" val="415233335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9CF724B-9072-4F3A-B1C4-A74C6ADA0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13" y="180976"/>
            <a:ext cx="8712968" cy="559256"/>
          </a:xfrm>
        </p:spPr>
        <p:txBody>
          <a:bodyPr/>
          <a:lstStyle/>
          <a:p>
            <a:r>
              <a:rPr lang="en-ZA" dirty="0"/>
              <a:t>Phase 2 and Phase 3: </a:t>
            </a:r>
            <a:r>
              <a:rPr lang="en-ZA" dirty="0" err="1"/>
              <a:t>NDoH</a:t>
            </a:r>
            <a:r>
              <a:rPr lang="en-ZA" dirty="0"/>
              <a:t> Timelines and Target Popul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4D6214F-3EEF-4677-9DD3-B60562E371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C845141-BE23-48A9-A1FB-76C4E621253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67545" y="1242758"/>
            <a:ext cx="8309172" cy="3348231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>
          <a:xfrm>
            <a:off x="3347864" y="1124744"/>
            <a:ext cx="2232248" cy="79208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E67F1492-01BD-D64A-A76B-44B83A144FAB}"/>
              </a:ext>
            </a:extLst>
          </p:cNvPr>
          <p:cNvSpPr/>
          <p:nvPr/>
        </p:nvSpPr>
        <p:spPr>
          <a:xfrm>
            <a:off x="3347864" y="2589376"/>
            <a:ext cx="2664296" cy="98363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A49927F2-006B-6B46-8ABB-DCFAE9DA4E8D}"/>
              </a:ext>
            </a:extLst>
          </p:cNvPr>
          <p:cNvSpPr/>
          <p:nvPr/>
        </p:nvSpPr>
        <p:spPr>
          <a:xfrm>
            <a:off x="5724128" y="2641425"/>
            <a:ext cx="1440160" cy="792088"/>
          </a:xfrm>
          <a:prstGeom prst="ellipse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09765905-8447-8044-84FA-F4B46F7B72E6}"/>
              </a:ext>
            </a:extLst>
          </p:cNvPr>
          <p:cNvSpPr/>
          <p:nvPr/>
        </p:nvSpPr>
        <p:spPr>
          <a:xfrm>
            <a:off x="5022610" y="1124744"/>
            <a:ext cx="1565613" cy="792088"/>
          </a:xfrm>
          <a:prstGeom prst="ellipse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6821" y="4709120"/>
            <a:ext cx="8829675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D6272987-64F2-4B82-97B0-ADE9061B8192}"/>
              </a:ext>
            </a:extLst>
          </p:cNvPr>
          <p:cNvCxnSpPr/>
          <p:nvPr/>
        </p:nvCxnSpPr>
        <p:spPr>
          <a:xfrm>
            <a:off x="6113099" y="1916832"/>
            <a:ext cx="720080" cy="288032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B3813C3E-33A9-4711-89D6-4F8D2BC0FF96}"/>
              </a:ext>
            </a:extLst>
          </p:cNvPr>
          <p:cNvCxnSpPr/>
          <p:nvPr/>
        </p:nvCxnSpPr>
        <p:spPr>
          <a:xfrm flipV="1">
            <a:off x="6257115" y="2276872"/>
            <a:ext cx="576064" cy="364553"/>
          </a:xfrm>
          <a:prstGeom prst="straightConnector1">
            <a:avLst/>
          </a:prstGeom>
          <a:ln w="63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A0964EEA-7E26-466A-9664-BA1A3DC30740}"/>
              </a:ext>
            </a:extLst>
          </p:cNvPr>
          <p:cNvSpPr/>
          <p:nvPr/>
        </p:nvSpPr>
        <p:spPr>
          <a:xfrm>
            <a:off x="6977195" y="1916832"/>
            <a:ext cx="1987293" cy="672544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imeframe adjusted due to rapid expansion of age band eligibility</a:t>
            </a:r>
            <a:endParaRPr kumimoji="0" lang="en-ZA" sz="12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94836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B9F371C-D29D-4C9C-B401-8DAAED98CC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trategy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9AF95FA5-26CE-42BA-A5D3-53D1741FECC2}"/>
              </a:ext>
            </a:extLst>
          </p:cNvPr>
          <p:cNvSpPr txBox="1">
            <a:spLocks/>
          </p:cNvSpPr>
          <p:nvPr/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u="sng" kern="1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/>
                <a:ea typeface="Verdana" panose="020B0604030504040204" pitchFamily="34" charset="0"/>
              </a:rPr>
              <a:t>Updated W Cape Public Sector Vaccine Supply Pipeline</a:t>
            </a:r>
            <a:endParaRPr kumimoji="0" lang="en-ZA" sz="14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Verdana" panose="020B060403050404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179512" y="1196752"/>
          <a:ext cx="8784977" cy="5476875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48802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225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4860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58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857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400" b="1" u="none" strike="noStrike" dirty="0">
                          <a:effectLst/>
                        </a:rPr>
                        <a:t>Date Received 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400" b="1" u="none" strike="noStrike" dirty="0">
                          <a:effectLst/>
                        </a:rPr>
                        <a:t>Number of doses Received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400" b="1" u="none" strike="noStrike" dirty="0">
                          <a:effectLst/>
                        </a:rPr>
                        <a:t>Type of Vaccine Received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400" b="1" u="none" strike="noStrike" dirty="0">
                          <a:effectLst/>
                        </a:rPr>
                        <a:t>Provincial Cumulative Total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14-May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33 93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33 93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2-May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35 10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69 03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4-May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9 25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98 28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7-May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5 74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124 02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03-Jun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72 54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196 56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10-Jun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49 14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45 70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18-Jun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49 14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94 84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2-Jun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6 40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J&amp;J (for educators only)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321 24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5-Jun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121 68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442 92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8-Jun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70 20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513 12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429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30-Jun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8 80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J&amp;J (for educators only)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541 92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05-Jul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58 50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600 42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51435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06-Jul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6 40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J&amp;J (for educators and designated groups only)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626 82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08-Jul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63 06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689 88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Century Gothic"/>
                        </a:rPr>
                        <a:t>15-Jul-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Century Gothic"/>
                        </a:rPr>
                        <a:t>16 8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Century Gothic"/>
                        </a:rPr>
                        <a:t>J&amp;J (for designated groups only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b="0" i="0" u="none" strike="noStrike" dirty="0">
                          <a:solidFill>
                            <a:sysClr val="windowText" lastClr="000000"/>
                          </a:solidFill>
                          <a:effectLst/>
                          <a:latin typeface="Century Gothic"/>
                        </a:rPr>
                        <a:t>706 6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16-Jul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73 65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780 33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23-Jul-21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93 60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Pfizer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6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873 930</a:t>
                      </a:r>
                      <a:endParaRPr lang="en-ZA" sz="16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8570768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39FB34A-3D0A-44AD-A0B1-CF3E38AC0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lanned Public Sector Sites: Metro &amp; Rural for Phase 2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AB2066-D897-442D-A68D-6FD62558D9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95274" y="4365104"/>
            <a:ext cx="84030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ublic Sector Sites </a:t>
            </a: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have come on line </a:t>
            </a: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 a phased manner from 17 May onward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18 Private sector sites (85 Metro, 33 Rural) </a:t>
            </a: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d</a:t>
            </a: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Workplace sites </a:t>
            </a: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re </a:t>
            </a: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dded sequentiall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here are </a:t>
            </a: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ekly updates </a:t>
            </a: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n </a:t>
            </a: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ctive sites per geographic area.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oving teams will visit satellite clinics.  Members of the public to check with local health contacts to confirm days of operation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BDB6D114-1B8B-4CB0-A6BC-DCF707549A0E}"/>
              </a:ext>
            </a:extLst>
          </p:cNvPr>
          <p:cNvGraphicFramePr>
            <a:graphicFrameLocks noGrp="1"/>
          </p:cNvGraphicFramePr>
          <p:nvPr/>
        </p:nvGraphicFramePr>
        <p:xfrm>
          <a:off x="295275" y="1155312"/>
          <a:ext cx="8403058" cy="3086100"/>
        </p:xfrm>
        <a:graphic>
          <a:graphicData uri="http://schemas.openxmlformats.org/drawingml/2006/table">
            <a:tbl>
              <a:tblPr/>
              <a:tblGrid>
                <a:gridCol w="2504758">
                  <a:extLst>
                    <a:ext uri="{9D8B030D-6E8A-4147-A177-3AD203B41FA5}">
                      <a16:colId xmlns:a16="http://schemas.microsoft.com/office/drawing/2014/main" xmlns="" val="860041912"/>
                    </a:ext>
                  </a:extLst>
                </a:gridCol>
                <a:gridCol w="2504758">
                  <a:extLst>
                    <a:ext uri="{9D8B030D-6E8A-4147-A177-3AD203B41FA5}">
                      <a16:colId xmlns:a16="http://schemas.microsoft.com/office/drawing/2014/main" xmlns="" val="2030800358"/>
                    </a:ext>
                  </a:extLst>
                </a:gridCol>
                <a:gridCol w="1777570">
                  <a:extLst>
                    <a:ext uri="{9D8B030D-6E8A-4147-A177-3AD203B41FA5}">
                      <a16:colId xmlns:a16="http://schemas.microsoft.com/office/drawing/2014/main" xmlns="" val="3601744700"/>
                    </a:ext>
                  </a:extLst>
                </a:gridCol>
                <a:gridCol w="1615972">
                  <a:extLst>
                    <a:ext uri="{9D8B030D-6E8A-4147-A177-3AD203B41FA5}">
                      <a16:colId xmlns:a16="http://schemas.microsoft.com/office/drawing/2014/main" xmlns="" val="583568198"/>
                    </a:ext>
                  </a:extLst>
                </a:gridCol>
              </a:tblGrid>
              <a:tr h="358140"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istrict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6E8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b-structure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6E8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# of Planned Vaccination Sites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6E8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# of Active Sites 19 – 23 July 2021</a:t>
                      </a:r>
                    </a:p>
                  </a:txBody>
                  <a:tcPr marL="7620" marR="7620" marT="762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6E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6388899"/>
                  </a:ext>
                </a:extLst>
              </a:tr>
              <a:tr h="190500">
                <a:tc rowSpan="4">
                  <a:txBody>
                    <a:bodyPr/>
                    <a:lstStyle/>
                    <a:p>
                      <a:pPr algn="l" rtl="0" fontAlgn="ctr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ity of Cape Town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outhern/Western 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A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A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393027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lipfontein/Mitchell’s Plain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1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1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1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96986784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hayelitsha/Eastern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AD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AD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AD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47416281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rthern/Tygerberg 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D4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D4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D4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2357412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b-total: Metro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75923560"/>
                  </a:ext>
                </a:extLst>
              </a:tr>
              <a:tr h="190500">
                <a:tc rowSpan="5">
                  <a:txBody>
                    <a:bodyPr/>
                    <a:lstStyle/>
                    <a:p>
                      <a:pPr algn="l" rtl="0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ural District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F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verberg Distric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A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A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EA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95554847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F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arden Route Distric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1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1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E1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09864530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F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est Coast Distric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C5D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C5D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C5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672794"/>
                  </a:ext>
                </a:extLst>
              </a:tr>
              <a:tr h="143516">
                <a:tc vMerge="1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F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ape Winelands Distric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C9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C9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DC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14874308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EFF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entral Karoo Distric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17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17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C1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374941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rtl="0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b-total: Rural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8064809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90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1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43329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70617069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Private Sector Sites as at </a:t>
            </a:r>
            <a:r>
              <a:rPr lang="en-ZA" dirty="0"/>
              <a:t>20</a:t>
            </a:r>
            <a:r>
              <a:rPr lang="en-ZA" sz="2400" dirty="0"/>
              <a:t> July 202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675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ZA" sz="675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079812" y="2362537"/>
            <a:ext cx="1728192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5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ctive Sit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44 in Metro; 14 in Rural)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211960" y="1534011"/>
          <a:ext cx="4619070" cy="37490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523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667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04659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District</a:t>
                      </a:r>
                      <a:endParaRPr lang="en-ZA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ZA" sz="1800" dirty="0">
                          <a:effectLst/>
                        </a:rPr>
                        <a:t># of private</a:t>
                      </a:r>
                      <a:r>
                        <a:rPr lang="en-ZA" sz="1800" baseline="0" dirty="0">
                          <a:effectLst/>
                        </a:rPr>
                        <a:t> sector </a:t>
                      </a:r>
                      <a:r>
                        <a:rPr lang="en-ZA" sz="1800" dirty="0">
                          <a:effectLst/>
                        </a:rPr>
                        <a:t>sites</a:t>
                      </a:r>
                      <a:endParaRPr lang="en-ZA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75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>
                          <a:effectLst/>
                        </a:rPr>
                        <a:t>Metro</a:t>
                      </a:r>
                      <a:endParaRPr lang="en-ZA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85</a:t>
                      </a:r>
                      <a:endParaRPr lang="en-ZA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475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>
                          <a:effectLst/>
                        </a:rPr>
                        <a:t>Cape Winelands</a:t>
                      </a:r>
                      <a:endParaRPr lang="en-ZA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en-ZA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475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>
                          <a:effectLst/>
                        </a:rPr>
                        <a:t>Central Karoo</a:t>
                      </a:r>
                      <a:endParaRPr lang="en-ZA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1</a:t>
                      </a:r>
                      <a:endParaRPr lang="en-ZA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475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</a:rPr>
                        <a:t>Garden Route</a:t>
                      </a:r>
                      <a:endParaRPr lang="en-ZA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en-ZA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475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>
                          <a:effectLst/>
                        </a:rPr>
                        <a:t>Overberg</a:t>
                      </a:r>
                      <a:endParaRPr lang="en-ZA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ZA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475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>
                          <a:effectLst/>
                        </a:rPr>
                        <a:t>West Coast</a:t>
                      </a:r>
                      <a:endParaRPr lang="en-ZA" sz="2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ZA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48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b="1">
                          <a:effectLst/>
                        </a:rPr>
                        <a:t>TOTAL</a:t>
                      </a:r>
                      <a:endParaRPr lang="en-ZA" sz="28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2000" b="1" dirty="0">
                          <a:effectLst/>
                          <a:latin typeface="+mn-lt"/>
                          <a:ea typeface="+mn-ea"/>
                          <a:cs typeface="+mn-cs"/>
                        </a:rPr>
                        <a:t>118</a:t>
                      </a:r>
                      <a:endParaRPr lang="en-ZA" sz="28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B6E1B28F-9785-427C-B7B9-593D31B858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512" y="1033909"/>
            <a:ext cx="3816424" cy="3907259"/>
          </a:xfrm>
        </p:spPr>
        <p:txBody>
          <a:bodyPr>
            <a:noAutofit/>
          </a:bodyPr>
          <a:lstStyle/>
          <a:p>
            <a:pPr marL="376933" indent="-367407" algn="just">
              <a:lnSpc>
                <a:spcPct val="150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en-ZA" b="0" dirty="0">
                <a:latin typeface="+mn-lt"/>
              </a:rPr>
              <a:t>Private sector sites are coming on board in a </a:t>
            </a:r>
            <a:r>
              <a:rPr lang="en-ZA" dirty="0">
                <a:latin typeface="+mn-lt"/>
              </a:rPr>
              <a:t>phased manner</a:t>
            </a:r>
            <a:r>
              <a:rPr lang="en-ZA" b="0" dirty="0">
                <a:latin typeface="+mn-lt"/>
              </a:rPr>
              <a:t>.</a:t>
            </a:r>
          </a:p>
          <a:p>
            <a:pPr marL="376933" indent="-367407" algn="just">
              <a:lnSpc>
                <a:spcPct val="150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en-ZA" sz="1600" b="0" dirty="0">
                <a:latin typeface="+mn-lt"/>
              </a:rPr>
              <a:t>The majority of private sector sites are </a:t>
            </a:r>
            <a:r>
              <a:rPr lang="en-ZA" sz="1600" dirty="0">
                <a:latin typeface="+mn-lt"/>
              </a:rPr>
              <a:t>Clicks Pharmacies (76).</a:t>
            </a:r>
          </a:p>
          <a:p>
            <a:pPr marL="376933" indent="-367407" algn="just">
              <a:lnSpc>
                <a:spcPct val="150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en-ZA" b="0" dirty="0">
                <a:latin typeface="+mn-lt"/>
              </a:rPr>
              <a:t>As at 20 July 2021, there were </a:t>
            </a:r>
            <a:r>
              <a:rPr lang="en-ZA" dirty="0">
                <a:latin typeface="+mn-lt"/>
              </a:rPr>
              <a:t>85 active private sites in Metro</a:t>
            </a:r>
            <a:r>
              <a:rPr lang="en-ZA" b="0" dirty="0">
                <a:latin typeface="+mn-lt"/>
              </a:rPr>
              <a:t> and </a:t>
            </a:r>
            <a:r>
              <a:rPr lang="en-ZA" dirty="0">
                <a:latin typeface="+mn-lt"/>
              </a:rPr>
              <a:t>33 in rural districts.</a:t>
            </a:r>
            <a:endParaRPr lang="en-ZA" sz="1600" dirty="0">
              <a:latin typeface="+mn-lt"/>
            </a:endParaRPr>
          </a:p>
          <a:p>
            <a:pPr marL="376933" indent="-367407" algn="just">
              <a:lnSpc>
                <a:spcPct val="150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en-ZA" b="0" dirty="0">
                <a:latin typeface="+mn-lt"/>
              </a:rPr>
              <a:t>Private sites also include a limited number of private sector </a:t>
            </a:r>
            <a:r>
              <a:rPr lang="en-ZA" dirty="0">
                <a:latin typeface="+mn-lt"/>
              </a:rPr>
              <a:t>hospitals</a:t>
            </a:r>
            <a:r>
              <a:rPr lang="en-ZA" b="0" dirty="0">
                <a:latin typeface="+mn-lt"/>
              </a:rPr>
              <a:t>, </a:t>
            </a:r>
            <a:r>
              <a:rPr lang="en-ZA" dirty="0">
                <a:latin typeface="+mn-lt"/>
              </a:rPr>
              <a:t>independent pharmacies</a:t>
            </a:r>
            <a:r>
              <a:rPr lang="en-ZA" b="0" dirty="0">
                <a:latin typeface="+mn-lt"/>
              </a:rPr>
              <a:t> and other</a:t>
            </a:r>
            <a:r>
              <a:rPr lang="en-ZA" dirty="0">
                <a:latin typeface="+mn-lt"/>
              </a:rPr>
              <a:t> retail pharmacies, </a:t>
            </a:r>
            <a:r>
              <a:rPr lang="en-ZA" b="0" dirty="0">
                <a:latin typeface="+mn-lt"/>
              </a:rPr>
              <a:t>e.g. Dis-</a:t>
            </a:r>
            <a:r>
              <a:rPr lang="en-ZA" b="0" dirty="0" err="1">
                <a:latin typeface="+mn-lt"/>
              </a:rPr>
              <a:t>Chem</a:t>
            </a:r>
            <a:r>
              <a:rPr lang="en-ZA" b="0" dirty="0">
                <a:latin typeface="+mn-lt"/>
              </a:rPr>
              <a:t>, etc.</a:t>
            </a:r>
            <a:endParaRPr lang="en-ZA" sz="1600" b="0" dirty="0">
              <a:latin typeface="+mn-lt"/>
            </a:endParaRPr>
          </a:p>
          <a:p>
            <a:pPr marL="10715" algn="just">
              <a:lnSpc>
                <a:spcPct val="150000"/>
              </a:lnSpc>
            </a:pPr>
            <a:r>
              <a:rPr lang="en-ZA" sz="1800" dirty="0">
                <a:latin typeface="+mn-lt"/>
              </a:rPr>
              <a:t> </a:t>
            </a:r>
          </a:p>
          <a:p>
            <a:pPr marL="342921" indent="-332206" algn="just">
              <a:buFont typeface="+mj-lt"/>
              <a:buAutoNum type="arabicPeriod" startAt="2"/>
            </a:pPr>
            <a:endParaRPr lang="en-ZA" sz="1800" b="0" dirty="0">
              <a:latin typeface="+mn-lt"/>
            </a:endParaRPr>
          </a:p>
          <a:p>
            <a:pPr marL="342921" indent="-332206">
              <a:buFont typeface="+mj-lt"/>
              <a:buAutoNum type="arabicPeriod" startAt="2"/>
            </a:pPr>
            <a:endParaRPr lang="en-ZA" sz="1800" b="0" dirty="0"/>
          </a:p>
          <a:p>
            <a:pPr marL="342921" indent="-332206">
              <a:buFont typeface="+mj-lt"/>
              <a:buAutoNum type="arabicPeriod" startAt="2"/>
            </a:pPr>
            <a:endParaRPr lang="en-ZA" sz="1600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285438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Vaccines Administered: Phase 1b and Phase 2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4941168"/>
            <a:ext cx="849694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umulative Total = </a:t>
            </a:r>
            <a:r>
              <a:rPr kumimoji="0" lang="en-ZA" sz="17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884 917  </a:t>
            </a: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including Sisonke and back-captured data)</a:t>
            </a:r>
            <a:endParaRPr kumimoji="0" lang="en-ZA" sz="17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60D4EB89-599C-48CF-8C52-BB44EB765478}"/>
              </a:ext>
            </a:extLst>
          </p:cNvPr>
          <p:cNvSpPr txBox="1"/>
          <p:nvPr/>
        </p:nvSpPr>
        <p:spPr>
          <a:xfrm>
            <a:off x="1403648" y="6125234"/>
            <a:ext cx="75608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[Disclaimer</a:t>
            </a: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 Data displayed in these graphs and tables only contains records captured on EVDS.  Totals will be adjusted as back-capturing and data validation is done.]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201F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Rectangle 1">
            <a:extLst>
              <a:ext uri="{FF2B5EF4-FFF2-40B4-BE49-F238E27FC236}">
                <a16:creationId xmlns:a16="http://schemas.microsoft.com/office/drawing/2014/main" xmlns="" id="{A77E6FF2-263B-4D6B-B6B1-10F5868F77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3648" y="5951596"/>
            <a:ext cx="665712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Calibri" pitchFamily="34" charset="0"/>
                <a:cs typeface="Times New Roman" pitchFamily="18" charset="0"/>
              </a:rPr>
              <a:t>Source: </a:t>
            </a:r>
            <a:r>
              <a:rPr kumimoji="0" lang="en-ZA" alt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Calibri" pitchFamily="34" charset="0"/>
                <a:cs typeface="Times New Roman" pitchFamily="18" charset="0"/>
              </a:rPr>
              <a:t>NDoH</a:t>
            </a:r>
            <a:r>
              <a:rPr kumimoji="0" lang="en-ZA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Calibri" pitchFamily="34" charset="0"/>
                <a:cs typeface="Times New Roman" pitchFamily="18" charset="0"/>
              </a:rPr>
              <a:t> Dashboard (</a:t>
            </a:r>
            <a:r>
              <a:rPr kumimoji="0" lang="en-ZA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Calibri" pitchFamily="34" charset="0"/>
                <a:cs typeface="Times New Roman" pitchFamily="18" charset="0"/>
                <a:hlinkClick r:id="rId2"/>
              </a:rPr>
              <a:t>Microsoft Power BI</a:t>
            </a:r>
            <a:r>
              <a:rPr kumimoji="0" lang="en-ZA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Calibri" pitchFamily="34" charset="0"/>
                <a:cs typeface="Times New Roman" pitchFamily="18" charset="0"/>
              </a:rPr>
              <a:t>) </a:t>
            </a:r>
            <a:r>
              <a:rPr kumimoji="0" lang="en-ZA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Calibri" pitchFamily="34" charset="0"/>
                <a:cs typeface="Times New Roman" pitchFamily="18" charset="0"/>
              </a:rPr>
              <a:t>accessed on 21 July 2021 @19:25.</a:t>
            </a:r>
            <a:r>
              <a:rPr kumimoji="0" lang="en-ZA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ZA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xmlns="" id="{00000000-0008-0000-0300-000004000000}"/>
              </a:ext>
            </a:extLst>
          </p:cNvPr>
          <p:cNvGraphicFramePr>
            <a:graphicFrameLocks/>
          </p:cNvGraphicFramePr>
          <p:nvPr/>
        </p:nvGraphicFramePr>
        <p:xfrm>
          <a:off x="323528" y="1158066"/>
          <a:ext cx="5780536" cy="3609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xmlns="" id="{00000000-0008-0000-0300-000002000000}"/>
              </a:ext>
            </a:extLst>
          </p:cNvPr>
          <p:cNvGraphicFramePr>
            <a:graphicFrameLocks/>
          </p:cNvGraphicFramePr>
          <p:nvPr/>
        </p:nvGraphicFramePr>
        <p:xfrm>
          <a:off x="6104064" y="1113827"/>
          <a:ext cx="2932432" cy="3653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58441591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Vaccinations Administered Against Weekly Targe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912EEE3-FEF3-49F6-9CCB-65A21CF65C08}"/>
              </a:ext>
            </a:extLst>
          </p:cNvPr>
          <p:cNvSpPr txBox="1"/>
          <p:nvPr/>
        </p:nvSpPr>
        <p:spPr>
          <a:xfrm>
            <a:off x="1259632" y="6125234"/>
            <a:ext cx="75608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1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[Disclaimer</a:t>
            </a: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 Data displayed in all tables, graphs and dashboards only contains records captured on EVDS and excludes vaccination records captured on paper.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201F1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en-GB" sz="10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otals will be adjusted as back-capturing and data validation is done.]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201F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/>
        </p:nvGraphicFramePr>
        <p:xfrm>
          <a:off x="539552" y="1340768"/>
          <a:ext cx="8064896" cy="36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827584" y="5517232"/>
            <a:ext cx="77048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ote:  Targets are informed by available vaccine supply.</a:t>
            </a:r>
          </a:p>
        </p:txBody>
      </p:sp>
    </p:spTree>
    <p:extLst>
      <p:ext uri="{BB962C8B-B14F-4D97-AF65-F5344CB8AC3E}">
        <p14:creationId xmlns:p14="http://schemas.microsoft.com/office/powerpoint/2010/main" xmlns="" val="234749447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Fully Vaccinated as at 21 July 202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755576" y="4370315"/>
          <a:ext cx="7776864" cy="127641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50577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191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Programme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Cumulative total as at 21 July 2021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1200" b="0" dirty="0">
                          <a:effectLst/>
                          <a:latin typeface="+mn-lt"/>
                        </a:rPr>
                        <a:t>Healthcare Workers (Sisonke) (J&amp;J Vaccine)</a:t>
                      </a:r>
                      <a:endParaRPr lang="en-ZA" sz="1600" b="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</a:rPr>
                        <a:t>92 167</a:t>
                      </a:r>
                      <a:endParaRPr lang="en-ZA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1200" b="0" dirty="0">
                          <a:effectLst/>
                          <a:latin typeface="+mn-lt"/>
                        </a:rPr>
                        <a:t>National Programme (J&amp;J Vaccine)</a:t>
                      </a:r>
                      <a:endParaRPr lang="en-ZA" sz="1600" b="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</a:rPr>
                        <a:t>48 140</a:t>
                      </a:r>
                      <a:endParaRPr lang="en-ZA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1200" b="0" dirty="0">
                          <a:effectLst/>
                          <a:latin typeface="+mn-lt"/>
                        </a:rPr>
                        <a:t>National Programme (2</a:t>
                      </a:r>
                      <a:r>
                        <a:rPr lang="en-ZA" sz="1200" b="0" baseline="30000" dirty="0">
                          <a:effectLst/>
                          <a:latin typeface="+mn-lt"/>
                        </a:rPr>
                        <a:t>nd</a:t>
                      </a:r>
                      <a:r>
                        <a:rPr lang="en-ZA" sz="1200" b="0" dirty="0">
                          <a:effectLst/>
                          <a:latin typeface="+mn-lt"/>
                        </a:rPr>
                        <a:t> dose Pfizer)</a:t>
                      </a:r>
                      <a:endParaRPr lang="en-ZA" sz="1600" b="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131 982</a:t>
                      </a:r>
                      <a:endParaRPr lang="en-ZA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effectLst/>
                          <a:latin typeface="+mn-lt"/>
                        </a:rPr>
                        <a:t>TOTAL</a:t>
                      </a:r>
                      <a:endParaRPr lang="en-ZA" sz="16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272 289</a:t>
                      </a:r>
                      <a:endParaRPr lang="en-ZA" sz="16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335027" y="6237318"/>
            <a:ext cx="6657129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Calibri" pitchFamily="34" charset="0"/>
                <a:cs typeface="Times New Roman" pitchFamily="18" charset="0"/>
              </a:rPr>
              <a:t>Source: </a:t>
            </a:r>
            <a:r>
              <a:rPr kumimoji="0" lang="en-ZA" altLang="en-US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Calibri" pitchFamily="34" charset="0"/>
                <a:cs typeface="Times New Roman" pitchFamily="18" charset="0"/>
              </a:rPr>
              <a:t>NDoH</a:t>
            </a:r>
            <a:r>
              <a:rPr kumimoji="0" lang="en-ZA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Calibri" pitchFamily="34" charset="0"/>
                <a:cs typeface="Times New Roman" pitchFamily="18" charset="0"/>
              </a:rPr>
              <a:t> Dashboard (</a:t>
            </a:r>
            <a:r>
              <a:rPr kumimoji="0" lang="en-ZA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Calibri" pitchFamily="34" charset="0"/>
                <a:cs typeface="Times New Roman" pitchFamily="18" charset="0"/>
                <a:hlinkClick r:id="rId3"/>
              </a:rPr>
              <a:t>Microsoft Power BI</a:t>
            </a:r>
            <a:r>
              <a:rPr kumimoji="0" lang="en-ZA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Calibri" pitchFamily="34" charset="0"/>
                <a:cs typeface="Times New Roman" pitchFamily="18" charset="0"/>
              </a:rPr>
              <a:t>) </a:t>
            </a:r>
            <a:r>
              <a:rPr kumimoji="0" lang="en-ZA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Calibri" pitchFamily="34" charset="0"/>
                <a:cs typeface="Times New Roman" pitchFamily="18" charset="0"/>
              </a:rPr>
              <a:t>accessed on 21 July 2021 @19:25.</a:t>
            </a:r>
            <a:r>
              <a:rPr kumimoji="0" lang="en-ZA" alt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ZA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3EB4884C-5D32-4AFC-B3D8-C7A71A477098}"/>
              </a:ext>
            </a:extLst>
          </p:cNvPr>
          <p:cNvGraphicFramePr>
            <a:graphicFrameLocks/>
          </p:cNvGraphicFramePr>
          <p:nvPr/>
        </p:nvGraphicFramePr>
        <p:xfrm>
          <a:off x="578720" y="1151769"/>
          <a:ext cx="8169744" cy="3204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14831272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ollout of Essential Worker Programme in the Public Secto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179512" y="1052736"/>
          <a:ext cx="8856984" cy="533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13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5356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48890">
                <a:tc>
                  <a:txBody>
                    <a:bodyPr/>
                    <a:lstStyle/>
                    <a:p>
                      <a:r>
                        <a:rPr lang="en-ZA" dirty="0"/>
                        <a:t>S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Proce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8336">
                <a:tc>
                  <a:txBody>
                    <a:bodyPr/>
                    <a:lstStyle/>
                    <a:p>
                      <a:r>
                        <a:rPr lang="en-ZA" sz="1600" b="1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sic Education Secto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baseline="0" dirty="0">
                          <a:latin typeface="+mn-lt"/>
                        </a:rPr>
                        <a:t>Process concluded on 15 July 2021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i="0" baseline="0" dirty="0">
                          <a:latin typeface="+mn-lt"/>
                        </a:rPr>
                        <a:t>A total of </a:t>
                      </a:r>
                      <a:r>
                        <a:rPr lang="en-ZA" sz="1200" b="1" i="0" baseline="0" dirty="0">
                          <a:latin typeface="+mn-lt"/>
                        </a:rPr>
                        <a:t>47 536 </a:t>
                      </a:r>
                      <a:r>
                        <a:rPr lang="en-ZA" sz="1200" b="0" i="0" baseline="0" dirty="0">
                          <a:latin typeface="+mn-lt"/>
                        </a:rPr>
                        <a:t>Educators were vaccinated as part of this programme (87% of the target of 54 400)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14076">
                <a:tc>
                  <a:txBody>
                    <a:bodyPr/>
                    <a:lstStyle/>
                    <a:p>
                      <a:r>
                        <a:rPr lang="en-ZA" sz="1600" b="1" i="0" u="none" strike="noStrike" baseline="0" dirty="0">
                          <a:solidFill>
                            <a:srgbClr val="000000"/>
                          </a:solidFill>
                          <a:latin typeface="+mn-lt"/>
                        </a:rPr>
                        <a:t>Department of Correctional Services (DCS), </a:t>
                      </a:r>
                      <a:r>
                        <a:rPr lang="en-ZA" sz="1600" b="1" i="0" u="none" strike="noStrike" baseline="0" dirty="0">
                          <a:solidFill>
                            <a:srgbClr val="000000"/>
                          </a:solidFill>
                        </a:rPr>
                        <a:t>Department of Home Affairs, Department of Justice and NPA,</a:t>
                      </a:r>
                      <a:endParaRPr lang="en-ZA" sz="1600" b="1" i="0" u="none" strike="noStrik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latin typeface="+mn-lt"/>
                        </a:rPr>
                        <a:t>Provincial</a:t>
                      </a:r>
                      <a:r>
                        <a:rPr lang="en-ZA" sz="1400" b="1" baseline="0" dirty="0">
                          <a:latin typeface="+mn-lt"/>
                        </a:rPr>
                        <a:t> Department of Healt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baseline="0" dirty="0">
                          <a:latin typeface="+mn-lt"/>
                        </a:rPr>
                        <a:t>Bulk registration uploads onto EVDS by </a:t>
                      </a:r>
                      <a:r>
                        <a:rPr lang="en-ZA" sz="1200" b="0" baseline="0" dirty="0" err="1">
                          <a:latin typeface="+mn-lt"/>
                        </a:rPr>
                        <a:t>NDoH</a:t>
                      </a:r>
                      <a:r>
                        <a:rPr lang="en-ZA" sz="1200" b="0" baseline="0" dirty="0">
                          <a:latin typeface="+mn-lt"/>
                        </a:rPr>
                        <a:t> on 12 July 2021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baseline="0" dirty="0">
                          <a:latin typeface="+mn-lt"/>
                        </a:rPr>
                        <a:t>DCS, DHA, NPA &amp; Justice employees to access vaccination at any vaccination site (public or private) as a walk-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14076">
                <a:tc>
                  <a:txBody>
                    <a:bodyPr/>
                    <a:lstStyle/>
                    <a:p>
                      <a:r>
                        <a:rPr lang="en-ZA" sz="1600" b="1" i="0" u="none" strike="noStrike" baseline="0" dirty="0">
                          <a:solidFill>
                            <a:srgbClr val="000000"/>
                          </a:solidFill>
                          <a:latin typeface="+mn-lt"/>
                        </a:rPr>
                        <a:t>South African Revenue Service (SAR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latin typeface="+mn-lt"/>
                        </a:rPr>
                        <a:t>Provincial</a:t>
                      </a:r>
                      <a:r>
                        <a:rPr lang="en-ZA" sz="1400" b="1" baseline="0" dirty="0">
                          <a:latin typeface="+mn-lt"/>
                        </a:rPr>
                        <a:t> Department of Healt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baseline="0" dirty="0">
                          <a:latin typeface="+mn-lt"/>
                        </a:rPr>
                        <a:t>Bulk registration uploads onto EVDS by </a:t>
                      </a:r>
                      <a:r>
                        <a:rPr lang="en-ZA" sz="1200" b="0" baseline="0" dirty="0" err="1">
                          <a:latin typeface="+mn-lt"/>
                        </a:rPr>
                        <a:t>NDoH</a:t>
                      </a:r>
                      <a:r>
                        <a:rPr lang="en-ZA" sz="1200" b="0" baseline="0" dirty="0">
                          <a:latin typeface="+mn-lt"/>
                        </a:rPr>
                        <a:t> on 21 July 2021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baseline="0" dirty="0">
                          <a:latin typeface="+mn-lt"/>
                        </a:rPr>
                        <a:t>SARS employees (&gt;35 years) to access vaccination at any vaccination site (public or private) as a walk-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88520">
                <a:tc>
                  <a:txBody>
                    <a:bodyPr/>
                    <a:lstStyle/>
                    <a:p>
                      <a:r>
                        <a:rPr lang="en-ZA" sz="1400" b="1" i="0" u="none" strike="noStrike" baseline="0" dirty="0">
                          <a:solidFill>
                            <a:srgbClr val="000000"/>
                          </a:solidFill>
                        </a:rPr>
                        <a:t>Social Development Sector (incl. ECD/SASSA), Traffic Offic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b="1" dirty="0">
                          <a:latin typeface="+mn-lt"/>
                        </a:rPr>
                        <a:t>Provincial Department of Healt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dirty="0">
                          <a:latin typeface="+mn-lt"/>
                        </a:rPr>
                        <a:t>Bulk</a:t>
                      </a:r>
                      <a:r>
                        <a:rPr lang="en-ZA" sz="1200" b="0" baseline="0" dirty="0">
                          <a:latin typeface="+mn-lt"/>
                        </a:rPr>
                        <a:t> registration uploads onto EVDS by </a:t>
                      </a:r>
                      <a:r>
                        <a:rPr lang="en-ZA" sz="1200" b="0" baseline="0" dirty="0" err="1">
                          <a:latin typeface="+mn-lt"/>
                        </a:rPr>
                        <a:t>NDoH</a:t>
                      </a:r>
                      <a:endParaRPr lang="en-ZA" sz="1200" b="0" baseline="0" dirty="0"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baseline="0" dirty="0">
                          <a:latin typeface="+mn-lt"/>
                        </a:rPr>
                        <a:t>Separate booking/scheduling system to be utilis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baseline="0" dirty="0">
                          <a:latin typeface="+mn-lt"/>
                        </a:rPr>
                        <a:t>Vaccination at designated sites onl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200" b="0" baseline="0" dirty="0">
                          <a:latin typeface="+mn-lt"/>
                        </a:rPr>
                        <a:t>Will commence from 21July 2021</a:t>
                      </a:r>
                      <a:endParaRPr lang="en-ZA" sz="1100" b="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52408">
                <a:tc>
                  <a:txBody>
                    <a:bodyPr/>
                    <a:lstStyle/>
                    <a:p>
                      <a:r>
                        <a:rPr lang="en-ZA" sz="1600" b="0" i="0" u="none" strike="noStrike" baseline="0" dirty="0">
                          <a:solidFill>
                            <a:srgbClr val="000000"/>
                          </a:solidFill>
                          <a:latin typeface="+mn-lt"/>
                        </a:rPr>
                        <a:t>Department of Defence and Military Veteran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+mn-lt"/>
                        </a:rPr>
                        <a:t>South African Military</a:t>
                      </a:r>
                      <a:r>
                        <a:rPr lang="en-ZA" sz="1400" baseline="0" dirty="0">
                          <a:latin typeface="+mn-lt"/>
                        </a:rPr>
                        <a:t> Health Services (SAMHS) will take responsibility 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94260">
                <a:tc>
                  <a:txBody>
                    <a:bodyPr/>
                    <a:lstStyle/>
                    <a:p>
                      <a:pPr algn="l"/>
                      <a:r>
                        <a:rPr lang="en-ZA" sz="1600" dirty="0">
                          <a:latin typeface="+mn-lt"/>
                        </a:rPr>
                        <a:t>South </a:t>
                      </a:r>
                      <a:r>
                        <a:rPr lang="en-ZA" sz="1600" b="0" i="0" u="none" strike="noStrike" baseline="0" dirty="0">
                          <a:solidFill>
                            <a:srgbClr val="000000"/>
                          </a:solidFill>
                          <a:latin typeface="+mn-lt"/>
                        </a:rPr>
                        <a:t>African Police Servic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+mn-lt"/>
                        </a:rPr>
                        <a:t>SAPS sites – Service</a:t>
                      </a:r>
                      <a:r>
                        <a:rPr lang="en-ZA" sz="1400" baseline="0" dirty="0">
                          <a:latin typeface="+mn-lt"/>
                        </a:rPr>
                        <a:t> p</a:t>
                      </a:r>
                      <a:r>
                        <a:rPr lang="en-ZA" sz="1400" dirty="0">
                          <a:latin typeface="+mn-lt"/>
                        </a:rPr>
                        <a:t>rovided by Wellness Odyssey on behalf</a:t>
                      </a:r>
                      <a:r>
                        <a:rPr lang="en-ZA" sz="1400" baseline="0" dirty="0">
                          <a:latin typeface="+mn-lt"/>
                        </a:rPr>
                        <a:t> of</a:t>
                      </a:r>
                      <a:r>
                        <a:rPr lang="en-ZA" sz="1400" dirty="0">
                          <a:latin typeface="+mn-lt"/>
                        </a:rPr>
                        <a:t> </a:t>
                      </a:r>
                      <a:r>
                        <a:rPr lang="en-ZA" sz="1400" dirty="0" err="1">
                          <a:latin typeface="+mn-lt"/>
                        </a:rPr>
                        <a:t>Polmed</a:t>
                      </a:r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16024">
                <a:tc gridSpan="2">
                  <a:txBody>
                    <a:bodyPr/>
                    <a:lstStyle/>
                    <a:p>
                      <a:pPr algn="l"/>
                      <a:r>
                        <a:rPr lang="en-ZA" sz="1200" b="1" i="0" u="none" strike="noStrike" baseline="0" dirty="0">
                          <a:solidFill>
                            <a:srgbClr val="000000"/>
                          </a:solidFill>
                          <a:latin typeface="+mn-lt"/>
                        </a:rPr>
                        <a:t>Remaining public sector employees will be required to access vaccination via the programme for the general public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9338849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3AA8C4-6A30-48A6-B70D-427579409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40" y="188640"/>
            <a:ext cx="8597205" cy="559256"/>
          </a:xfrm>
        </p:spPr>
        <p:txBody>
          <a:bodyPr/>
          <a:lstStyle/>
          <a:p>
            <a:r>
              <a:rPr lang="en-ZA" sz="2400" dirty="0"/>
              <a:t>CTICC Vaccination Centre of Hope</a:t>
            </a: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6E1B28F-9785-427C-B7B9-593D31B858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536" y="1196753"/>
            <a:ext cx="4608512" cy="4536504"/>
          </a:xfrm>
        </p:spPr>
        <p:txBody>
          <a:bodyPr>
            <a:noAutofit/>
          </a:bodyPr>
          <a:lstStyle/>
          <a:p>
            <a:pPr marL="352426" indent="-342900" algn="just">
              <a:lnSpc>
                <a:spcPct val="150000"/>
              </a:lnSpc>
              <a:spcAft>
                <a:spcPts val="1800"/>
              </a:spcAft>
              <a:buAutoNum type="arabicPeriod"/>
            </a:pPr>
            <a:r>
              <a:rPr lang="en-ZA" sz="1600" b="0" dirty="0">
                <a:latin typeface="+mn-lt"/>
              </a:rPr>
              <a:t>The </a:t>
            </a:r>
            <a:r>
              <a:rPr lang="en-ZA" sz="1600" dirty="0">
                <a:latin typeface="+mn-lt"/>
              </a:rPr>
              <a:t>Western Cape Government, </a:t>
            </a:r>
            <a:r>
              <a:rPr lang="en-ZA" sz="1600" b="0" dirty="0">
                <a:latin typeface="+mn-lt"/>
              </a:rPr>
              <a:t>in partnership with the </a:t>
            </a:r>
            <a:r>
              <a:rPr lang="en-ZA" sz="1600" dirty="0">
                <a:latin typeface="+mn-lt"/>
              </a:rPr>
              <a:t>City of Cape Town </a:t>
            </a:r>
            <a:r>
              <a:rPr lang="en-ZA" sz="1600" b="0" dirty="0">
                <a:latin typeface="+mn-lt"/>
              </a:rPr>
              <a:t>and </a:t>
            </a:r>
            <a:r>
              <a:rPr lang="en-ZA" sz="1600" dirty="0">
                <a:latin typeface="+mn-lt"/>
              </a:rPr>
              <a:t>Discovery </a:t>
            </a:r>
            <a:r>
              <a:rPr lang="en-ZA" sz="1600" b="0" dirty="0">
                <a:latin typeface="+mn-lt"/>
              </a:rPr>
              <a:t>opened the </a:t>
            </a:r>
            <a:r>
              <a:rPr lang="en-ZA" sz="1600" dirty="0">
                <a:latin typeface="+mn-lt"/>
              </a:rPr>
              <a:t>CTICC</a:t>
            </a:r>
            <a:r>
              <a:rPr lang="en-ZA" sz="1600" b="0" dirty="0">
                <a:latin typeface="+mn-lt"/>
              </a:rPr>
              <a:t> Vaccination Centre of Hope on</a:t>
            </a:r>
            <a:r>
              <a:rPr lang="en-ZA" sz="1600" dirty="0">
                <a:latin typeface="+mn-lt"/>
              </a:rPr>
              <a:t> 07 July 2021.</a:t>
            </a:r>
          </a:p>
          <a:p>
            <a:pPr marL="352426" indent="-342900" algn="just">
              <a:lnSpc>
                <a:spcPct val="150000"/>
              </a:lnSpc>
              <a:spcAft>
                <a:spcPts val="1800"/>
              </a:spcAft>
              <a:buAutoNum type="arabicPeriod"/>
            </a:pPr>
            <a:r>
              <a:rPr lang="en-ZA" sz="1600" b="0" dirty="0">
                <a:latin typeface="+mn-lt"/>
              </a:rPr>
              <a:t>The site is currently operating </a:t>
            </a:r>
            <a:r>
              <a:rPr lang="en-ZA" sz="1600" dirty="0">
                <a:latin typeface="+mn-lt"/>
              </a:rPr>
              <a:t>29 vaccination stations</a:t>
            </a:r>
            <a:r>
              <a:rPr lang="en-ZA" sz="1600" b="0" dirty="0">
                <a:latin typeface="+mn-lt"/>
              </a:rPr>
              <a:t> and will increase as vaccine supply increase.</a:t>
            </a:r>
          </a:p>
          <a:p>
            <a:pPr marL="352426" indent="-342900" algn="just">
              <a:lnSpc>
                <a:spcPct val="150000"/>
              </a:lnSpc>
              <a:spcAft>
                <a:spcPts val="1800"/>
              </a:spcAft>
              <a:buAutoNum type="arabicPeriod"/>
            </a:pPr>
            <a:r>
              <a:rPr lang="en-ZA" sz="1600" b="0" dirty="0">
                <a:latin typeface="+mn-lt"/>
              </a:rPr>
              <a:t>Up to close of business on 21 July 2021, this site had administered </a:t>
            </a:r>
            <a:r>
              <a:rPr lang="en-ZA" sz="1600" dirty="0">
                <a:latin typeface="+mn-lt"/>
              </a:rPr>
              <a:t>12 205 </a:t>
            </a:r>
            <a:r>
              <a:rPr lang="en-ZA" sz="1600" b="0" dirty="0">
                <a:latin typeface="+mn-lt"/>
              </a:rPr>
              <a:t>vaccinations.</a:t>
            </a:r>
          </a:p>
          <a:p>
            <a:pPr marL="781933" lvl="3" indent="-367407" algn="just">
              <a:lnSpc>
                <a:spcPct val="150000"/>
              </a:lnSpc>
              <a:spcAft>
                <a:spcPts val="1800"/>
              </a:spcAft>
            </a:pPr>
            <a:endParaRPr lang="en-ZA" sz="1800" dirty="0">
              <a:latin typeface="+mn-lt"/>
            </a:endParaRPr>
          </a:p>
          <a:p>
            <a:pPr marL="781933" lvl="3" indent="-367407" algn="just">
              <a:lnSpc>
                <a:spcPct val="150000"/>
              </a:lnSpc>
              <a:spcAft>
                <a:spcPts val="1800"/>
              </a:spcAft>
            </a:pPr>
            <a:endParaRPr lang="en-ZA" sz="1800" dirty="0">
              <a:latin typeface="+mn-lt"/>
            </a:endParaRPr>
          </a:p>
          <a:p>
            <a:pPr marL="342921" indent="-332206" algn="just">
              <a:buFont typeface="+mj-lt"/>
              <a:buAutoNum type="arabicPeriod" startAt="2"/>
            </a:pPr>
            <a:endParaRPr lang="en-ZA" sz="1800" b="0" dirty="0">
              <a:latin typeface="+mn-lt"/>
            </a:endParaRPr>
          </a:p>
          <a:p>
            <a:pPr marL="342921" indent="-332206">
              <a:buFont typeface="+mj-lt"/>
              <a:buAutoNum type="arabicPeriod" startAt="2"/>
            </a:pPr>
            <a:endParaRPr lang="en-ZA" sz="1800" b="0" dirty="0"/>
          </a:p>
          <a:p>
            <a:pPr marL="342921" indent="-332206">
              <a:buFont typeface="+mj-lt"/>
              <a:buAutoNum type="arabicPeriod" startAt="2"/>
            </a:pPr>
            <a:endParaRPr lang="en-ZA" sz="1600" b="0" dirty="0">
              <a:latin typeface="+mn-lt"/>
            </a:endParaRPr>
          </a:p>
        </p:txBody>
      </p:sp>
      <p:pic>
        <p:nvPicPr>
          <p:cNvPr id="18434" name="Picture 2" descr="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92080" y="4047094"/>
            <a:ext cx="3312368" cy="220738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436" name="Picture 4" descr="PICTURES FROM THE FIELD - 6 July 2021 | eNC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20072" y="1268760"/>
            <a:ext cx="3480856" cy="23934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09614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9CBF2CA-1BE7-46F3-9E76-BDCD44F76C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872" y="180976"/>
            <a:ext cx="8597205" cy="559256"/>
          </a:xfrm>
        </p:spPr>
        <p:txBody>
          <a:bodyPr/>
          <a:lstStyle/>
          <a:p>
            <a:r>
              <a:rPr lang="en-ZA" dirty="0"/>
              <a:t>Current reproduction number (Western Cape)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1E35B66-79C7-4FF5-96FF-65A3233E9C04}"/>
              </a:ext>
            </a:extLst>
          </p:cNvPr>
          <p:cNvSpPr txBox="1"/>
          <p:nvPr/>
        </p:nvSpPr>
        <p:spPr>
          <a:xfrm>
            <a:off x="5552952" y="6576996"/>
            <a:ext cx="359104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pproximated based on smoothed doubling times, cases by date of reporting</a:t>
            </a:r>
            <a:endParaRPr kumimoji="0" lang="en-GB" sz="7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36C6124-07EA-4D6D-B849-878A53122179}"/>
              </a:ext>
            </a:extLst>
          </p:cNvPr>
          <p:cNvSpPr txBox="1"/>
          <p:nvPr/>
        </p:nvSpPr>
        <p:spPr>
          <a:xfrm>
            <a:off x="525490" y="1080459"/>
            <a:ext cx="78629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production number based on cases currently ~1.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31DC1EA8-6EB0-4DDC-87F7-2CE27361501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39552" y="1693731"/>
            <a:ext cx="7382905" cy="443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754212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3AA8C4-6A30-48A6-B70D-427579409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40" y="188640"/>
            <a:ext cx="8597205" cy="559256"/>
          </a:xfrm>
        </p:spPr>
        <p:txBody>
          <a:bodyPr/>
          <a:lstStyle/>
          <a:p>
            <a:r>
              <a:rPr lang="en-ZA" sz="2400" dirty="0"/>
              <a:t>Mass vaccination at </a:t>
            </a:r>
            <a:r>
              <a:rPr lang="en-ZA" sz="2400" dirty="0" err="1"/>
              <a:t>Athlone</a:t>
            </a:r>
            <a:r>
              <a:rPr lang="en-ZA" sz="2400" dirty="0"/>
              <a:t> Stadium</a:t>
            </a: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6E1B28F-9785-427C-B7B9-593D31B858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512" y="961901"/>
            <a:ext cx="5040560" cy="3907259"/>
          </a:xfrm>
        </p:spPr>
        <p:txBody>
          <a:bodyPr>
            <a:noAutofit/>
          </a:bodyPr>
          <a:lstStyle/>
          <a:p>
            <a:pPr marL="376933" indent="-367407" algn="just">
              <a:lnSpc>
                <a:spcPct val="150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en-ZA" sz="1600" b="0" dirty="0">
                <a:latin typeface="+mn-lt"/>
              </a:rPr>
              <a:t>The </a:t>
            </a:r>
            <a:r>
              <a:rPr lang="en-ZA" sz="1600" dirty="0">
                <a:latin typeface="+mn-lt"/>
              </a:rPr>
              <a:t>Western Cape Government Health </a:t>
            </a:r>
            <a:r>
              <a:rPr lang="en-ZA" sz="1600" b="0" dirty="0">
                <a:latin typeface="+mn-lt"/>
              </a:rPr>
              <a:t>will partner with the </a:t>
            </a:r>
            <a:r>
              <a:rPr lang="en-ZA" sz="1600" dirty="0">
                <a:latin typeface="+mn-lt"/>
              </a:rPr>
              <a:t>City of Cape Town </a:t>
            </a:r>
            <a:r>
              <a:rPr lang="en-ZA" sz="1600" b="0" dirty="0">
                <a:latin typeface="+mn-lt"/>
              </a:rPr>
              <a:t>to  introduce the first </a:t>
            </a:r>
            <a:r>
              <a:rPr lang="en-ZA" sz="1600" dirty="0">
                <a:latin typeface="+mn-lt"/>
              </a:rPr>
              <a:t>drive-through and walk-through </a:t>
            </a:r>
            <a:r>
              <a:rPr lang="en-ZA" sz="1600" b="0" dirty="0">
                <a:latin typeface="+mn-lt"/>
              </a:rPr>
              <a:t>mass vaccination site at the </a:t>
            </a:r>
            <a:r>
              <a:rPr lang="en-ZA" sz="1600" dirty="0" err="1">
                <a:latin typeface="+mn-lt"/>
              </a:rPr>
              <a:t>Athlone</a:t>
            </a:r>
            <a:r>
              <a:rPr lang="en-ZA" sz="1600" dirty="0">
                <a:latin typeface="+mn-lt"/>
              </a:rPr>
              <a:t> Stadium.</a:t>
            </a:r>
          </a:p>
          <a:p>
            <a:pPr marL="376933" indent="-367407" algn="just">
              <a:lnSpc>
                <a:spcPct val="150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en-ZA" b="0" dirty="0"/>
              <a:t>The aim is for the walk-in facility to be operational </a:t>
            </a:r>
            <a:r>
              <a:rPr lang="en-ZA" dirty="0"/>
              <a:t>mid August </a:t>
            </a:r>
            <a:r>
              <a:rPr lang="en-ZA" b="0" dirty="0"/>
              <a:t>and the drive through facility, </a:t>
            </a:r>
            <a:r>
              <a:rPr lang="en-ZA" dirty="0"/>
              <a:t>two weeks later</a:t>
            </a:r>
            <a:r>
              <a:rPr lang="en-ZA" b="0" dirty="0"/>
              <a:t>.</a:t>
            </a:r>
          </a:p>
          <a:p>
            <a:pPr marL="376933" indent="-367407" algn="just">
              <a:lnSpc>
                <a:spcPct val="150000"/>
              </a:lnSpc>
              <a:spcAft>
                <a:spcPts val="1200"/>
              </a:spcAft>
              <a:buFont typeface="+mj-lt"/>
              <a:buAutoNum type="arabicPeriod"/>
            </a:pPr>
            <a:r>
              <a:rPr lang="en-ZA" b="0" dirty="0"/>
              <a:t>The drive-through will follow the same steps as a walk-through, where clients are successfully </a:t>
            </a:r>
            <a:r>
              <a:rPr lang="en-ZA" dirty="0"/>
              <a:t>screened, registered and vaccinated</a:t>
            </a:r>
            <a:r>
              <a:rPr lang="en-ZA" b="0" dirty="0"/>
              <a:t>.  </a:t>
            </a:r>
            <a:endParaRPr lang="en-ZA" sz="1600" b="0" dirty="0">
              <a:latin typeface="+mn-lt"/>
            </a:endParaRPr>
          </a:p>
          <a:p>
            <a:pPr marL="10715" algn="just">
              <a:lnSpc>
                <a:spcPct val="150000"/>
              </a:lnSpc>
            </a:pPr>
            <a:r>
              <a:rPr lang="en-ZA" sz="1800" dirty="0">
                <a:latin typeface="+mn-lt"/>
              </a:rPr>
              <a:t> </a:t>
            </a:r>
          </a:p>
          <a:p>
            <a:pPr marL="342921" indent="-332206" algn="just">
              <a:buFont typeface="+mj-lt"/>
              <a:buAutoNum type="arabicPeriod" startAt="2"/>
            </a:pPr>
            <a:endParaRPr lang="en-ZA" sz="1800" b="0" dirty="0">
              <a:latin typeface="+mn-lt"/>
            </a:endParaRPr>
          </a:p>
          <a:p>
            <a:pPr marL="342921" indent="-332206">
              <a:buFont typeface="+mj-lt"/>
              <a:buAutoNum type="arabicPeriod" startAt="2"/>
            </a:pPr>
            <a:endParaRPr lang="en-ZA" sz="1800" b="0" dirty="0"/>
          </a:p>
          <a:p>
            <a:pPr marL="342921" indent="-332206">
              <a:buFont typeface="+mj-lt"/>
              <a:buAutoNum type="arabicPeriod" startAt="2"/>
            </a:pPr>
            <a:endParaRPr lang="en-ZA" sz="1600" b="0" dirty="0">
              <a:latin typeface="+mn-lt"/>
            </a:endParaRPr>
          </a:p>
        </p:txBody>
      </p:sp>
      <p:pic>
        <p:nvPicPr>
          <p:cNvPr id="20484" name="Picture 4" descr="https://image-prod.iol.co.za/resize/610x61000/?source=https://xlibris.public.prod.oc.inl.infomaker.io:8443/opencontent/objects/6e7e5eb5-b6b2-52a1-9acf-1b893992dd47&amp;operation=CROP&amp;offset=0x210&amp;resize=4093x230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64088" y="1330780"/>
            <a:ext cx="3650979" cy="205292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486" name="Picture 6" descr="Athlone Stadium to become Cape Town&amp;#39;s first drive-through mass vaccination  sit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64087" y="3742033"/>
            <a:ext cx="3650979" cy="227925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0126722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7EF80A16-0E3A-464C-88D7-DAB2E985E3D2}"/>
              </a:ext>
            </a:extLst>
          </p:cNvPr>
          <p:cNvSpPr/>
          <p:nvPr/>
        </p:nvSpPr>
        <p:spPr>
          <a:xfrm>
            <a:off x="3651954" y="-6666"/>
            <a:ext cx="3899524" cy="1566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3" name="Arrow: Down 22">
            <a:extLst>
              <a:ext uri="{FF2B5EF4-FFF2-40B4-BE49-F238E27FC236}">
                <a16:creationId xmlns:a16="http://schemas.microsoft.com/office/drawing/2014/main" xmlns="" id="{CD067771-EB88-42E0-8E26-675C91995F12}"/>
              </a:ext>
            </a:extLst>
          </p:cNvPr>
          <p:cNvSpPr/>
          <p:nvPr/>
        </p:nvSpPr>
        <p:spPr>
          <a:xfrm rot="16200000">
            <a:off x="4296156" y="162329"/>
            <a:ext cx="719455" cy="8210935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xmlns="" id="{BC2FBA60-3BB3-47DD-A0ED-EDF019FF46E2}"/>
              </a:ext>
            </a:extLst>
          </p:cNvPr>
          <p:cNvSpPr/>
          <p:nvPr/>
        </p:nvSpPr>
        <p:spPr>
          <a:xfrm rot="16200000">
            <a:off x="4266792" y="-1174171"/>
            <a:ext cx="719455" cy="8210935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25" name="Content Placeholder 3">
            <a:extLst>
              <a:ext uri="{FF2B5EF4-FFF2-40B4-BE49-F238E27FC236}">
                <a16:creationId xmlns:a16="http://schemas.microsoft.com/office/drawing/2014/main" xmlns="" id="{8FF808BD-7B51-4ED7-8178-DF66A305D308}"/>
              </a:ext>
            </a:extLst>
          </p:cNvPr>
          <p:cNvGraphicFramePr>
            <a:graphicFrameLocks/>
          </p:cNvGraphicFramePr>
          <p:nvPr/>
        </p:nvGraphicFramePr>
        <p:xfrm>
          <a:off x="96982" y="2724420"/>
          <a:ext cx="8950036" cy="17527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6" name="Diagram 25">
            <a:extLst>
              <a:ext uri="{FF2B5EF4-FFF2-40B4-BE49-F238E27FC236}">
                <a16:creationId xmlns:a16="http://schemas.microsoft.com/office/drawing/2014/main" xmlns="" id="{27751F24-27FF-4343-B889-0906DFA0E5E8}"/>
              </a:ext>
            </a:extLst>
          </p:cNvPr>
          <p:cNvGraphicFramePr/>
          <p:nvPr/>
        </p:nvGraphicFramePr>
        <p:xfrm>
          <a:off x="4345093" y="4109477"/>
          <a:ext cx="2549875" cy="28485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7" name="Diagram 26">
            <a:extLst>
              <a:ext uri="{FF2B5EF4-FFF2-40B4-BE49-F238E27FC236}">
                <a16:creationId xmlns:a16="http://schemas.microsoft.com/office/drawing/2014/main" xmlns="" id="{B917C585-6E6B-4921-AB40-45BA66856FDF}"/>
              </a:ext>
            </a:extLst>
          </p:cNvPr>
          <p:cNvGraphicFramePr/>
          <p:nvPr/>
        </p:nvGraphicFramePr>
        <p:xfrm>
          <a:off x="4894312" y="118551"/>
          <a:ext cx="3213067" cy="28485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29" name="Diagram 28">
            <a:extLst>
              <a:ext uri="{FF2B5EF4-FFF2-40B4-BE49-F238E27FC236}">
                <a16:creationId xmlns:a16="http://schemas.microsoft.com/office/drawing/2014/main" xmlns="" id="{95ACE587-433C-4B36-A48E-2A2D2C6714A5}"/>
              </a:ext>
            </a:extLst>
          </p:cNvPr>
          <p:cNvGraphicFramePr/>
          <p:nvPr/>
        </p:nvGraphicFramePr>
        <p:xfrm>
          <a:off x="2965466" y="118552"/>
          <a:ext cx="3213067" cy="28485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30" name="Diagram 29">
            <a:extLst>
              <a:ext uri="{FF2B5EF4-FFF2-40B4-BE49-F238E27FC236}">
                <a16:creationId xmlns:a16="http://schemas.microsoft.com/office/drawing/2014/main" xmlns="" id="{1EEF253A-0CDD-4B8E-80B2-908AA038BA05}"/>
              </a:ext>
            </a:extLst>
          </p:cNvPr>
          <p:cNvGraphicFramePr/>
          <p:nvPr/>
        </p:nvGraphicFramePr>
        <p:xfrm>
          <a:off x="4760162" y="6241964"/>
          <a:ext cx="1719735" cy="5726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5CE53510-B0FC-4B9E-8E6B-F8D649BD1B85}"/>
              </a:ext>
            </a:extLst>
          </p:cNvPr>
          <p:cNvPicPr>
            <a:picLocks noChangeAspect="1"/>
          </p:cNvPicPr>
          <p:nvPr/>
        </p:nvPicPr>
        <p:blipFill rotWithShape="1">
          <a:blip r:embed="rId28" cstate="print">
            <a:alphaModFix amt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9806"/>
          <a:stretch/>
        </p:blipFill>
        <p:spPr>
          <a:xfrm>
            <a:off x="5262397" y="5548307"/>
            <a:ext cx="667886" cy="5356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BC737A4E-8CE0-4633-BBDE-6B8691CE782A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print">
            <a:alphaModFix amt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1256" r="44457" b="34106"/>
          <a:stretch/>
        </p:blipFill>
        <p:spPr>
          <a:xfrm>
            <a:off x="5049351" y="1102427"/>
            <a:ext cx="1001893" cy="805177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883AF49F-55A6-46AC-9C45-8288CF7D310A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alphaModFix amt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89397" y="3671154"/>
            <a:ext cx="657619" cy="65761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7A94A785-FA27-4CBF-A7E1-D5D272176ACE}"/>
              </a:ext>
            </a:extLst>
          </p:cNvPr>
          <p:cNvPicPr>
            <a:picLocks noChangeAspect="1"/>
          </p:cNvPicPr>
          <p:nvPr/>
        </p:nvPicPr>
        <p:blipFill rotWithShape="1">
          <a:blip r:embed="rId31" cstate="print">
            <a:alphaModFix amt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5896"/>
          <a:stretch/>
        </p:blipFill>
        <p:spPr>
          <a:xfrm>
            <a:off x="6108446" y="3668604"/>
            <a:ext cx="546088" cy="459285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5B84D213-3475-4B51-AB6C-2A2D874EE26E}"/>
              </a:ext>
            </a:extLst>
          </p:cNvPr>
          <p:cNvPicPr>
            <a:picLocks noChangeAspect="1"/>
          </p:cNvPicPr>
          <p:nvPr/>
        </p:nvPicPr>
        <p:blipFill rotWithShape="1">
          <a:blip r:embed="rId32" cstate="print">
            <a:alphaModFix amt="5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3623"/>
          <a:stretch/>
        </p:blipFill>
        <p:spPr>
          <a:xfrm>
            <a:off x="3788593" y="3708878"/>
            <a:ext cx="443149" cy="382778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:a16="http://schemas.microsoft.com/office/drawing/2014/main" xmlns="" id="{A8B1B658-4C07-458B-B40F-D6ED440CF17E}"/>
              </a:ext>
            </a:extLst>
          </p:cNvPr>
          <p:cNvSpPr txBox="1">
            <a:spLocks/>
          </p:cNvSpPr>
          <p:nvPr/>
        </p:nvSpPr>
        <p:spPr>
          <a:xfrm>
            <a:off x="3521367" y="2278274"/>
            <a:ext cx="1706434" cy="805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highlight>
                  <a:srgbClr val="C0C0C0"/>
                </a:highlight>
                <a:uLnTx/>
                <a:uFillTx/>
                <a:latin typeface="Century Gothic"/>
                <a:ea typeface="+mj-ea"/>
                <a:cs typeface="+mj-cs"/>
              </a:rPr>
              <a:t>Public Sector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xmlns="" id="{3A7EC50B-A2F2-4A15-BF94-4DFAB48EAD6E}"/>
              </a:ext>
            </a:extLst>
          </p:cNvPr>
          <p:cNvSpPr txBox="1">
            <a:spLocks/>
          </p:cNvSpPr>
          <p:nvPr/>
        </p:nvSpPr>
        <p:spPr>
          <a:xfrm>
            <a:off x="6051244" y="2278274"/>
            <a:ext cx="1706434" cy="805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highlight>
                  <a:srgbClr val="C0C0C0"/>
                </a:highlight>
                <a:uLnTx/>
                <a:uFillTx/>
                <a:latin typeface="Century Gothic"/>
                <a:ea typeface="+mj-ea"/>
                <a:cs typeface="+mj-cs"/>
              </a:rPr>
              <a:t>Private Sector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xmlns="" id="{9293CE18-C036-48D6-B40B-802BF01779D5}"/>
              </a:ext>
            </a:extLst>
          </p:cNvPr>
          <p:cNvSpPr txBox="1">
            <a:spLocks/>
          </p:cNvSpPr>
          <p:nvPr/>
        </p:nvSpPr>
        <p:spPr>
          <a:xfrm>
            <a:off x="412013" y="2485848"/>
            <a:ext cx="1706434" cy="805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Insured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xmlns="" id="{EC3D2335-E942-4376-8D9F-60585B8D8112}"/>
              </a:ext>
            </a:extLst>
          </p:cNvPr>
          <p:cNvSpPr txBox="1">
            <a:spLocks/>
          </p:cNvSpPr>
          <p:nvPr/>
        </p:nvSpPr>
        <p:spPr>
          <a:xfrm>
            <a:off x="490954" y="3898246"/>
            <a:ext cx="1706434" cy="805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Uninsured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xmlns="" id="{33C0A7F0-49F1-470D-9845-053ECBE8DDE4}"/>
              </a:ext>
            </a:extLst>
          </p:cNvPr>
          <p:cNvSpPr txBox="1">
            <a:spLocks/>
          </p:cNvSpPr>
          <p:nvPr/>
        </p:nvSpPr>
        <p:spPr>
          <a:xfrm>
            <a:off x="-129265" y="49726"/>
            <a:ext cx="3595480" cy="994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Overall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Vaccine Cascade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xmlns="" id="{516A60E3-2D39-44B8-9C60-678627FEC1F3}"/>
              </a:ext>
            </a:extLst>
          </p:cNvPr>
          <p:cNvSpPr txBox="1">
            <a:spLocks/>
          </p:cNvSpPr>
          <p:nvPr/>
        </p:nvSpPr>
        <p:spPr>
          <a:xfrm>
            <a:off x="4808883" y="1731717"/>
            <a:ext cx="1299563" cy="3048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Supply Pipeline</a:t>
            </a:r>
          </a:p>
        </p:txBody>
      </p:sp>
      <p:sp>
        <p:nvSpPr>
          <p:cNvPr id="46" name="Title 1">
            <a:extLst>
              <a:ext uri="{FF2B5EF4-FFF2-40B4-BE49-F238E27FC236}">
                <a16:creationId xmlns:a16="http://schemas.microsoft.com/office/drawing/2014/main" xmlns="" id="{4A41B4B3-9D9F-4612-94FF-59065B1275E4}"/>
              </a:ext>
            </a:extLst>
          </p:cNvPr>
          <p:cNvSpPr txBox="1">
            <a:spLocks/>
          </p:cNvSpPr>
          <p:nvPr/>
        </p:nvSpPr>
        <p:spPr>
          <a:xfrm>
            <a:off x="-203116" y="2528408"/>
            <a:ext cx="2327383" cy="3048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Individual Vaccinee Cascade</a:t>
            </a: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xmlns="" id="{AB5A6589-190E-4FC1-88AB-A0DCF684FEE8}"/>
              </a:ext>
            </a:extLst>
          </p:cNvPr>
          <p:cNvSpPr txBox="1">
            <a:spLocks/>
          </p:cNvSpPr>
          <p:nvPr/>
        </p:nvSpPr>
        <p:spPr>
          <a:xfrm>
            <a:off x="2335234" y="5093484"/>
            <a:ext cx="2039350" cy="10744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Operational </a:t>
            </a:r>
          </a:p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Vaccination  </a:t>
            </a:r>
          </a:p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1489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Capacity</a:t>
            </a:r>
          </a:p>
        </p:txBody>
      </p:sp>
    </p:spTree>
    <p:extLst>
      <p:ext uri="{BB962C8B-B14F-4D97-AF65-F5344CB8AC3E}">
        <p14:creationId xmlns:p14="http://schemas.microsoft.com/office/powerpoint/2010/main" xmlns="" val="12047580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xmlns="" id="{E943A414-A6B0-41FC-BD70-E7E475E6A4D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r="983" b="2"/>
          <a:stretch/>
        </p:blipFill>
        <p:spPr>
          <a:xfrm>
            <a:off x="20" y="1282"/>
            <a:ext cx="9143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413531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xmlns="" id="{4C16B923-9429-41BB-85BD-9DA63A929F1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r="1317" b="2"/>
          <a:stretch/>
        </p:blipFill>
        <p:spPr>
          <a:xfrm>
            <a:off x="20" y="1282"/>
            <a:ext cx="9143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7383613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xmlns="" id="{7B59C06F-D051-46BA-ADF7-7CAC1EADB2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b="19"/>
          <a:stretch/>
        </p:blipFill>
        <p:spPr>
          <a:xfrm>
            <a:off x="20" y="1282"/>
            <a:ext cx="9143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7857036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xmlns="" id="{E0704B53-8AAC-4157-898E-D09A820891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b="19"/>
          <a:stretch/>
        </p:blipFill>
        <p:spPr>
          <a:xfrm>
            <a:off x="20" y="1282"/>
            <a:ext cx="9143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1065606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xmlns="" id="{C8B4741B-10DC-4027-B022-5509B1CCBA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r="314" b="-1"/>
          <a:stretch/>
        </p:blipFill>
        <p:spPr>
          <a:xfrm>
            <a:off x="20" y="1282"/>
            <a:ext cx="9143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5714824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Content Placeholder 3" descr="Timeline&#10;&#10;Description automatically generated">
            <a:extLst>
              <a:ext uri="{FF2B5EF4-FFF2-40B4-BE49-F238E27FC236}">
                <a16:creationId xmlns:a16="http://schemas.microsoft.com/office/drawing/2014/main" xmlns="" id="{7AF70066-7AC6-47AB-9025-22841C2563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315" r="-1" b="-1"/>
          <a:stretch/>
        </p:blipFill>
        <p:spPr>
          <a:xfrm>
            <a:off x="20" y="1282"/>
            <a:ext cx="9143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4841429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E072D76-F979-44D5-BBBE-21F9A7CF4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D548AF1-DDD5-40FD-B7FB-D6A529302B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8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14D252F3-232C-42CE-979D-F045473A15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FC8016F-4E21-47B7-89BD-2C5DC872F3D8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705" y="0"/>
            <a:ext cx="9124589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77998BC-4FA4-4DA2-A6AB-D585BC78A0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7996810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3AA8C4-6A30-48A6-B70D-4275794094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440" y="188640"/>
            <a:ext cx="8597205" cy="559256"/>
          </a:xfrm>
        </p:spPr>
        <p:txBody>
          <a:bodyPr/>
          <a:lstStyle/>
          <a:p>
            <a:r>
              <a:rPr lang="en-ZA" sz="2400" dirty="0"/>
              <a:t>Key Lessons from the first 9 weeks</a:t>
            </a:r>
            <a:endParaRPr lang="en-US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6E1B28F-9785-427C-B7B9-593D31B858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512" y="961901"/>
            <a:ext cx="8784976" cy="5688632"/>
          </a:xfrm>
        </p:spPr>
        <p:txBody>
          <a:bodyPr>
            <a:noAutofit/>
          </a:bodyPr>
          <a:lstStyle/>
          <a:p>
            <a:pPr marL="376933" indent="-367407" algn="just">
              <a:spcAft>
                <a:spcPts val="1800"/>
              </a:spcAft>
              <a:buFont typeface="+mj-lt"/>
              <a:buAutoNum type="arabicPeriod"/>
            </a:pPr>
            <a:r>
              <a:rPr lang="en-ZA" sz="1600" dirty="0">
                <a:latin typeface="+mn-lt"/>
              </a:rPr>
              <a:t>The importance of equity</a:t>
            </a:r>
            <a:r>
              <a:rPr lang="en-ZA" sz="1600" b="0" dirty="0">
                <a:latin typeface="+mn-lt"/>
              </a:rPr>
              <a:t>:</a:t>
            </a:r>
            <a:r>
              <a:rPr lang="en-ZA" sz="1600" dirty="0">
                <a:latin typeface="+mn-lt"/>
              </a:rPr>
              <a:t> </a:t>
            </a:r>
          </a:p>
          <a:p>
            <a:pPr marL="757238" lvl="1" indent="-395288" algn="just">
              <a:spcAft>
                <a:spcPts val="1800"/>
              </a:spcAft>
              <a:buFont typeface="+mj-lt"/>
              <a:buAutoNum type="alphaLcParenR"/>
            </a:pPr>
            <a:r>
              <a:rPr lang="en-ZA" sz="1600" b="0" dirty="0">
                <a:latin typeface="+mn-lt"/>
              </a:rPr>
              <a:t>Access in the Metro versus rural districts and towns</a:t>
            </a:r>
          </a:p>
          <a:p>
            <a:pPr marL="757238" lvl="1" indent="-395288" algn="just">
              <a:spcAft>
                <a:spcPts val="1800"/>
              </a:spcAft>
              <a:buFont typeface="+mj-lt"/>
              <a:buAutoNum type="alphaLcParenR"/>
            </a:pPr>
            <a:r>
              <a:rPr lang="en-ZA" sz="1600" dirty="0">
                <a:latin typeface="+mn-lt"/>
              </a:rPr>
              <a:t>Public sector versus private sector sites and access</a:t>
            </a:r>
          </a:p>
          <a:p>
            <a:pPr marL="757238" lvl="1" indent="-395288" algn="just">
              <a:spcAft>
                <a:spcPts val="1800"/>
              </a:spcAft>
              <a:buFont typeface="+mj-lt"/>
              <a:buAutoNum type="alphaLcParenR"/>
            </a:pPr>
            <a:r>
              <a:rPr lang="en-ZA" sz="1600" b="0" dirty="0">
                <a:latin typeface="+mn-lt"/>
              </a:rPr>
              <a:t>Access for insured versus uninsured people</a:t>
            </a:r>
          </a:p>
          <a:p>
            <a:pPr marL="757238" lvl="1" indent="-395288" algn="just">
              <a:spcAft>
                <a:spcPts val="1800"/>
              </a:spcAft>
              <a:buFont typeface="+mj-lt"/>
              <a:buAutoNum type="alphaLcParenR"/>
            </a:pPr>
            <a:r>
              <a:rPr lang="en-ZA" sz="1600" dirty="0">
                <a:latin typeface="+mn-lt"/>
              </a:rPr>
              <a:t>Access for &gt;60yrs versus other age groups</a:t>
            </a:r>
            <a:endParaRPr lang="en-ZA" sz="1600" b="0" dirty="0">
              <a:latin typeface="+mn-lt"/>
            </a:endParaRPr>
          </a:p>
          <a:p>
            <a:pPr marL="376933" indent="-367407" algn="just">
              <a:spcAft>
                <a:spcPts val="1800"/>
              </a:spcAft>
              <a:buFont typeface="+mj-lt"/>
              <a:buAutoNum type="arabicPeriod" startAt="2"/>
            </a:pPr>
            <a:r>
              <a:rPr lang="en-ZA" sz="1600" dirty="0">
                <a:latin typeface="+mn-lt"/>
              </a:rPr>
              <a:t>The importance of having a differentiated and targeted strategy</a:t>
            </a:r>
            <a:r>
              <a:rPr lang="en-ZA" sz="1600" b="0" dirty="0">
                <a:latin typeface="+mn-lt"/>
              </a:rPr>
              <a:t>:</a:t>
            </a:r>
            <a:r>
              <a:rPr lang="en-ZA" sz="1600" dirty="0">
                <a:latin typeface="+mn-lt"/>
              </a:rPr>
              <a:t> </a:t>
            </a:r>
          </a:p>
          <a:p>
            <a:pPr marL="725488" lvl="1" indent="-412750" algn="just">
              <a:spcAft>
                <a:spcPts val="1800"/>
              </a:spcAft>
              <a:buFont typeface="+mj-lt"/>
              <a:buAutoNum type="alphaLcParenR"/>
            </a:pPr>
            <a:r>
              <a:rPr lang="en-ZA" sz="1600" dirty="0">
                <a:latin typeface="+mn-lt"/>
              </a:rPr>
              <a:t>Metro – targeted outreach into low uptake areas </a:t>
            </a:r>
          </a:p>
          <a:p>
            <a:pPr marL="725488" lvl="1" indent="-412750" algn="just">
              <a:spcAft>
                <a:spcPts val="1800"/>
              </a:spcAft>
              <a:buFont typeface="+mj-lt"/>
              <a:buAutoNum type="alphaLcParenR"/>
            </a:pPr>
            <a:r>
              <a:rPr lang="en-ZA" sz="1600" dirty="0">
                <a:latin typeface="+mn-lt"/>
              </a:rPr>
              <a:t>Rural – increase private sites &amp; targeted outreach </a:t>
            </a:r>
          </a:p>
          <a:p>
            <a:pPr marL="376933" indent="-367407" algn="just">
              <a:spcAft>
                <a:spcPts val="1800"/>
              </a:spcAft>
              <a:buFont typeface="+mj-lt"/>
              <a:buAutoNum type="arabicPeriod" startAt="2"/>
            </a:pPr>
            <a:r>
              <a:rPr lang="en-ZA" sz="1600" dirty="0">
                <a:latin typeface="+mn-lt"/>
              </a:rPr>
              <a:t>The importance of communication</a:t>
            </a:r>
            <a:r>
              <a:rPr lang="en-ZA" sz="1600" b="0" dirty="0">
                <a:latin typeface="+mn-lt"/>
              </a:rPr>
              <a:t>: </a:t>
            </a:r>
          </a:p>
          <a:p>
            <a:pPr marL="808038" lvl="1" indent="-495300" algn="just">
              <a:spcAft>
                <a:spcPts val="1800"/>
              </a:spcAft>
              <a:buFont typeface="+mj-lt"/>
              <a:buAutoNum type="alphaLcParenR"/>
            </a:pPr>
            <a:r>
              <a:rPr lang="en-ZA" sz="1600" b="0" dirty="0">
                <a:latin typeface="+mn-lt"/>
              </a:rPr>
              <a:t>What to expect – simplifying the process</a:t>
            </a:r>
          </a:p>
          <a:p>
            <a:pPr marL="808038" lvl="1" indent="-495300" algn="just">
              <a:spcAft>
                <a:spcPts val="1800"/>
              </a:spcAft>
              <a:buFont typeface="+mj-lt"/>
              <a:buAutoNum type="alphaLcParenR"/>
            </a:pPr>
            <a:r>
              <a:rPr lang="en-ZA" sz="1600" dirty="0">
                <a:latin typeface="+mn-lt"/>
              </a:rPr>
              <a:t>Importance of being vaccinated – counter misinformation &amp; hesitancy</a:t>
            </a:r>
            <a:r>
              <a:rPr lang="en-ZA" sz="1600" b="0" dirty="0">
                <a:latin typeface="+mn-lt"/>
              </a:rPr>
              <a:t> </a:t>
            </a:r>
          </a:p>
          <a:p>
            <a:pPr marL="511933" lvl="1" indent="-367407" algn="just">
              <a:lnSpc>
                <a:spcPct val="150000"/>
              </a:lnSpc>
              <a:spcAft>
                <a:spcPts val="1800"/>
              </a:spcAft>
              <a:buFont typeface="+mj-lt"/>
              <a:buAutoNum type="alphaLcParenR"/>
            </a:pPr>
            <a:endParaRPr lang="en-ZA" sz="1600" b="0" dirty="0">
              <a:latin typeface="+mn-lt"/>
            </a:endParaRPr>
          </a:p>
          <a:p>
            <a:pPr marL="10715" algn="just">
              <a:lnSpc>
                <a:spcPct val="150000"/>
              </a:lnSpc>
            </a:pPr>
            <a:r>
              <a:rPr lang="en-ZA" sz="1800" dirty="0">
                <a:latin typeface="+mn-lt"/>
              </a:rPr>
              <a:t> </a:t>
            </a:r>
          </a:p>
          <a:p>
            <a:pPr marL="342921" indent="-332206" algn="just">
              <a:buFont typeface="+mj-lt"/>
              <a:buAutoNum type="arabicPeriod" startAt="2"/>
            </a:pPr>
            <a:endParaRPr lang="en-ZA" sz="1800" b="0" dirty="0">
              <a:latin typeface="+mn-lt"/>
            </a:endParaRPr>
          </a:p>
          <a:p>
            <a:pPr marL="342921" indent="-332206">
              <a:buFont typeface="+mj-lt"/>
              <a:buAutoNum type="arabicPeriod" startAt="2"/>
            </a:pPr>
            <a:endParaRPr lang="en-ZA" sz="1800" b="0" dirty="0"/>
          </a:p>
          <a:p>
            <a:pPr marL="342921" indent="-332206">
              <a:buFont typeface="+mj-lt"/>
              <a:buAutoNum type="arabicPeriod" startAt="2"/>
            </a:pPr>
            <a:endParaRPr lang="en-ZA" sz="1600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02552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7ADC2C8-1993-42D3-843E-FC2C6981E93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2697207"/>
            <a:ext cx="8143265" cy="4160793"/>
          </a:xfrm>
          <a:prstGeom prst="rect">
            <a:avLst/>
          </a:prstGeom>
        </p:spPr>
      </p:pic>
      <p:sp>
        <p:nvSpPr>
          <p:cNvPr id="393" name="Google Shape;393;p5"/>
          <p:cNvSpPr txBox="1">
            <a:spLocks noGrp="1"/>
          </p:cNvSpPr>
          <p:nvPr>
            <p:ph type="body" idx="1"/>
          </p:nvPr>
        </p:nvSpPr>
        <p:spPr>
          <a:xfrm>
            <a:off x="5724128" y="2668885"/>
            <a:ext cx="3923928" cy="792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5185" tIns="17587" rIns="35185" bIns="17587" anchor="t" anchorCtr="0">
            <a:noAutofit/>
          </a:bodyPr>
          <a:lstStyle/>
          <a:p>
            <a:pPr marL="0" indent="0">
              <a:spcBef>
                <a:spcPts val="0"/>
              </a:spcBef>
              <a:buSzPts val="4000"/>
              <a:buNone/>
            </a:pPr>
            <a:r>
              <a:rPr lang="en-US" sz="1200" dirty="0">
                <a:latin typeface="Calibri" panose="020F0502020204030204" pitchFamily="34" charset="0"/>
                <a:ea typeface="Arial"/>
                <a:cs typeface="Calibri" panose="020F0502020204030204" pitchFamily="34" charset="0"/>
                <a:sym typeface="Arial"/>
              </a:rPr>
              <a:t>7-day moving average of new cases by province</a:t>
            </a:r>
            <a:endParaRPr sz="1200" dirty="0"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E17ADAB-729B-4B44-B5D2-5F2CFDC5664F}"/>
              </a:ext>
            </a:extLst>
          </p:cNvPr>
          <p:cNvSpPr txBox="1"/>
          <p:nvPr/>
        </p:nvSpPr>
        <p:spPr>
          <a:xfrm>
            <a:off x="44402" y="824758"/>
            <a:ext cx="417038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veral provinces showing early signs of plateauing including WC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uteng: Steep decreases in Gauteng continue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AA0CBBBE-2591-4515-BD10-3A23F24D0AEB}"/>
              </a:ext>
            </a:extLst>
          </p:cNvPr>
          <p:cNvSpPr txBox="1">
            <a:spLocks/>
          </p:cNvSpPr>
          <p:nvPr/>
        </p:nvSpPr>
        <p:spPr>
          <a:xfrm>
            <a:off x="44401" y="108454"/>
            <a:ext cx="2871415" cy="419442"/>
          </a:xfrm>
          <a:prstGeom prst="rect">
            <a:avLst/>
          </a:prstGeom>
        </p:spPr>
        <p:txBody>
          <a:bodyPr wrap="none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National trend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4F4F42A-363A-4261-A369-95C496A439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788942" y="6169117"/>
            <a:ext cx="1317961" cy="6543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D05D780-37AE-41D5-8A85-A542C777D00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8143265" y="5301208"/>
            <a:ext cx="1000735" cy="86790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1BCB85A8-D75A-4667-AD7A-035BB8AA99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/>
          <a:srcRect t="16719" b="6481"/>
          <a:stretch/>
        </p:blipFill>
        <p:spPr>
          <a:xfrm>
            <a:off x="4214785" y="339164"/>
            <a:ext cx="4930695" cy="232972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7E574DE-DF39-4BA5-94A7-7F80215B00B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11882" t="5542" r="7006" b="82252"/>
          <a:stretch/>
        </p:blipFill>
        <p:spPr>
          <a:xfrm>
            <a:off x="4445800" y="172995"/>
            <a:ext cx="4653799" cy="446565"/>
          </a:xfrm>
          <a:prstGeom prst="rect">
            <a:avLst/>
          </a:prstGeom>
        </p:spPr>
      </p:pic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BB2699-2CDA-44A8-BE6E-DA302536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1560" y="2348880"/>
            <a:ext cx="8281291" cy="1440160"/>
          </a:xfrm>
        </p:spPr>
        <p:txBody>
          <a:bodyPr>
            <a:noAutofit/>
          </a:bodyPr>
          <a:lstStyle/>
          <a:p>
            <a:r>
              <a:rPr lang="en-ZA" b="1" dirty="0"/>
              <a:t>EVDS Registrations</a:t>
            </a:r>
          </a:p>
        </p:txBody>
      </p:sp>
    </p:spTree>
    <p:extLst>
      <p:ext uri="{BB962C8B-B14F-4D97-AF65-F5344CB8AC3E}">
        <p14:creationId xmlns:p14="http://schemas.microsoft.com/office/powerpoint/2010/main" xmlns="" val="4121745757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46E47C2F-EC75-5E42-93CA-D27E4CDA451C}"/>
              </a:ext>
            </a:extLst>
          </p:cNvPr>
          <p:cNvSpPr/>
          <p:nvPr/>
        </p:nvSpPr>
        <p:spPr>
          <a:xfrm>
            <a:off x="107504" y="6021288"/>
            <a:ext cx="1440160" cy="5622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EVDS Registrations: &gt;35 years as at 21 July 202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23528" y="1018922"/>
            <a:ext cx="8712966" cy="9914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estern Cape: </a:t>
            </a:r>
            <a:r>
              <a:rPr lang="en-ZA" sz="2400" b="1" dirty="0">
                <a:solidFill>
                  <a:prstClr val="white"/>
                </a:solidFill>
                <a:latin typeface="Century Gothic"/>
              </a:rPr>
              <a:t>36</a:t>
            </a: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99% </a:t>
            </a:r>
            <a:r>
              <a:rPr kumimoji="0" lang="en-ZA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</a:t>
            </a:r>
            <a:r>
              <a:rPr lang="en-ZA" sz="2400" dirty="0">
                <a:solidFill>
                  <a:prstClr val="white"/>
                </a:solidFill>
                <a:latin typeface="Century Gothic"/>
              </a:rPr>
              <a:t>1 078 181</a:t>
            </a:r>
            <a:r>
              <a:rPr kumimoji="0" lang="en-ZA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)</a:t>
            </a:r>
            <a:endParaRPr kumimoji="0" lang="en-ZA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3.67% </a:t>
            </a:r>
            <a:r>
              <a:rPr kumimoji="0" lang="en-ZA" sz="20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35yrs  to 49yrs) 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9.38% 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50yrs to 59yrs) and 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2.72% 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(60yrs+)</a:t>
            </a:r>
            <a:endParaRPr kumimoji="0" lang="en-ZA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82098576"/>
              </p:ext>
            </p:extLst>
          </p:nvPr>
        </p:nvGraphicFramePr>
        <p:xfrm>
          <a:off x="312741" y="2060848"/>
          <a:ext cx="4259264" cy="445185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332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974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3701196823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xmlns="" val="1941704845"/>
                    </a:ext>
                  </a:extLst>
                </a:gridCol>
                <a:gridCol w="648077">
                  <a:extLst>
                    <a:ext uri="{9D8B030D-6E8A-4147-A177-3AD203B41FA5}">
                      <a16:colId xmlns:a16="http://schemas.microsoft.com/office/drawing/2014/main" xmlns="" val="1300093168"/>
                    </a:ext>
                  </a:extLst>
                </a:gridCol>
              </a:tblGrid>
              <a:tr h="426328">
                <a:tc gridSpan="6">
                  <a:txBody>
                    <a:bodyPr/>
                    <a:lstStyle/>
                    <a:p>
                      <a:pPr algn="ctr"/>
                      <a:r>
                        <a:rPr lang="en-ZA" dirty="0"/>
                        <a:t>RURAL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72769">
                <a:tc>
                  <a:txBody>
                    <a:bodyPr/>
                    <a:lstStyle/>
                    <a:p>
                      <a:pPr algn="l"/>
                      <a:r>
                        <a:rPr lang="en-ZA" sz="1200" b="1" dirty="0"/>
                        <a:t>District</a:t>
                      </a:r>
                      <a:endParaRPr lang="en-ZA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/>
                        <a:t>Total</a:t>
                      </a:r>
                      <a:endParaRPr lang="en-ZA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35yrs to 49y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50yrs </a:t>
                      </a:r>
                    </a:p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to 59y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60yrs+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35yrs+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5740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Cape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Winelands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38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88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</a:rPr>
                        <a:t>Central Karoo</a:t>
                      </a:r>
                      <a:endParaRPr lang="en-ZA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29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988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</a:rPr>
                        <a:t>Garden Route</a:t>
                      </a:r>
                      <a:endParaRPr lang="en-ZA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06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71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988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</a:rPr>
                        <a:t>Overberg</a:t>
                      </a:r>
                      <a:endParaRPr lang="en-ZA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1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90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988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</a:rPr>
                        <a:t>West Coast</a:t>
                      </a:r>
                      <a:endParaRPr lang="en-ZA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9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2">
                              <a:lumMod val="75000"/>
                            </a:schemeClr>
                          </a:solidFill>
                          <a:effectLst/>
                          <a:latin typeface="+mn-lt"/>
                        </a:rPr>
                        <a:t>71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xmlns="" id="{94012A0A-2A45-CC4F-BDA1-895196BC51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87462537"/>
              </p:ext>
            </p:extLst>
          </p:nvPr>
        </p:nvGraphicFramePr>
        <p:xfrm>
          <a:off x="4654792" y="2060848"/>
          <a:ext cx="4381702" cy="447207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693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5113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65307">
                  <a:extLst>
                    <a:ext uri="{9D8B030D-6E8A-4147-A177-3AD203B41FA5}">
                      <a16:colId xmlns:a16="http://schemas.microsoft.com/office/drawing/2014/main" xmlns="" val="3721274833"/>
                    </a:ext>
                  </a:extLst>
                </a:gridCol>
                <a:gridCol w="66530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65307">
                  <a:extLst>
                    <a:ext uri="{9D8B030D-6E8A-4147-A177-3AD203B41FA5}">
                      <a16:colId xmlns:a16="http://schemas.microsoft.com/office/drawing/2014/main" xmlns="" val="1941704845"/>
                    </a:ext>
                  </a:extLst>
                </a:gridCol>
                <a:gridCol w="665307">
                  <a:extLst>
                    <a:ext uri="{9D8B030D-6E8A-4147-A177-3AD203B41FA5}">
                      <a16:colId xmlns:a16="http://schemas.microsoft.com/office/drawing/2014/main" xmlns="" val="1300093168"/>
                    </a:ext>
                  </a:extLst>
                </a:gridCol>
              </a:tblGrid>
              <a:tr h="432048">
                <a:tc gridSpan="6">
                  <a:txBody>
                    <a:bodyPr/>
                    <a:lstStyle/>
                    <a:p>
                      <a:pPr algn="ctr"/>
                      <a:r>
                        <a:rPr lang="en-ZA" dirty="0"/>
                        <a:t>METRO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34554">
                <a:tc>
                  <a:txBody>
                    <a:bodyPr/>
                    <a:lstStyle/>
                    <a:p>
                      <a:pPr algn="l"/>
                      <a:r>
                        <a:rPr lang="en-ZA" sz="1200" b="1" dirty="0"/>
                        <a:t>Sub-District</a:t>
                      </a:r>
                      <a:endParaRPr lang="en-ZA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/>
                        <a:t>Total</a:t>
                      </a:r>
                      <a:endParaRPr lang="en-ZA" sz="1200" b="1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35yrs to 49y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50yrs </a:t>
                      </a:r>
                    </a:p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to 59y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60yrs+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>
                          <a:latin typeface="+mn-lt"/>
                        </a:rPr>
                        <a:t>35yrs+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75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Easter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82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849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Khayelitsh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3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21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75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</a:rPr>
                        <a:t>Klipfontein</a:t>
                      </a:r>
                      <a:endParaRPr lang="en-ZA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88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,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2849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</a:rPr>
                        <a:t>Mitchells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Plai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2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21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75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</a:rPr>
                        <a:t>Northern</a:t>
                      </a:r>
                      <a:endParaRPr lang="en-ZA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8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9859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Souther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26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,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660611618"/>
                  </a:ext>
                </a:extLst>
              </a:tr>
              <a:tr h="39859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Tygerberg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14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43070712"/>
                  </a:ext>
                </a:extLst>
              </a:tr>
              <a:tr h="39859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Western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73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,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1353017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04480199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795311AB-86FC-F54A-A608-092345A9B71A}"/>
              </a:ext>
            </a:extLst>
          </p:cNvPr>
          <p:cNvSpPr txBox="1"/>
          <p:nvPr/>
        </p:nvSpPr>
        <p:spPr>
          <a:xfrm>
            <a:off x="196315" y="44624"/>
            <a:ext cx="88214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43A8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ow registration communities in Mitchells Plan and Khayelitsha </a:t>
            </a:r>
            <a:r>
              <a:rPr lang="en-US" sz="2400" b="1" dirty="0">
                <a:solidFill>
                  <a:srgbClr val="243A88"/>
                </a:solidFill>
                <a:latin typeface="Century Gothic" panose="020B0502020202020204" pitchFamily="34" charset="0"/>
              </a:rPr>
              <a:t>21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43A8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July 2021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E1DB3C8C-B9E3-F74E-8587-021F5BAA9887}"/>
              </a:ext>
            </a:extLst>
          </p:cNvPr>
          <p:cNvSpPr/>
          <p:nvPr/>
        </p:nvSpPr>
        <p:spPr>
          <a:xfrm>
            <a:off x="196315" y="6021288"/>
            <a:ext cx="1351349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26AB904C-4CF4-F544-87B1-03406A97A8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23592670"/>
              </p:ext>
            </p:extLst>
          </p:nvPr>
        </p:nvGraphicFramePr>
        <p:xfrm>
          <a:off x="144959" y="1102272"/>
          <a:ext cx="8852934" cy="2100076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663727">
                  <a:extLst>
                    <a:ext uri="{9D8B030D-6E8A-4147-A177-3AD203B41FA5}">
                      <a16:colId xmlns:a16="http://schemas.microsoft.com/office/drawing/2014/main" xmlns="" val="2924956059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4149681464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3519556351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3143568139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390631069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3288746827"/>
                    </a:ext>
                  </a:extLst>
                </a:gridCol>
                <a:gridCol w="1148647">
                  <a:extLst>
                    <a:ext uri="{9D8B030D-6E8A-4147-A177-3AD203B41FA5}">
                      <a16:colId xmlns:a16="http://schemas.microsoft.com/office/drawing/2014/main" xmlns="" val="3389061507"/>
                    </a:ext>
                  </a:extLst>
                </a:gridCol>
              </a:tblGrid>
              <a:tr h="147512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b="1" u="none" strike="noStrike" dirty="0">
                          <a:effectLst/>
                        </a:rPr>
                        <a:t>Mitchells Plain Sub-places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 dirty="0">
                          <a:effectLst/>
                        </a:rPr>
                        <a:t>35 to 49yrs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>
                          <a:effectLst/>
                        </a:rPr>
                        <a:t>50 to 59yrs</a:t>
                      </a:r>
                      <a:endParaRPr lang="en-ZA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>
                          <a:effectLst/>
                        </a:rPr>
                        <a:t>60yrs+</a:t>
                      </a:r>
                      <a:endParaRPr lang="en-ZA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>
                          <a:effectLst/>
                        </a:rPr>
                        <a:t>35yrs+</a:t>
                      </a:r>
                      <a:endParaRPr lang="en-ZA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>
                          <a:effectLst/>
                        </a:rPr>
                        <a:t>Total registered</a:t>
                      </a:r>
                      <a:endParaRPr lang="en-ZA" sz="13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 dirty="0">
                          <a:effectLst/>
                        </a:rPr>
                        <a:t>Population 35yrs+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2437933488"/>
                  </a:ext>
                </a:extLst>
              </a:tr>
              <a:tr h="147512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Browns Farms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7,3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1,9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9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8,5%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846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3400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1682663289"/>
                  </a:ext>
                </a:extLst>
              </a:tr>
              <a:tr h="147512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Tafelsig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0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18,2%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9,3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7,0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4857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8616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3415621840"/>
                  </a:ext>
                </a:extLst>
              </a:tr>
              <a:tr h="147512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Philippi East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8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10,8%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9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7,3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578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21572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3493763677"/>
                  </a:ext>
                </a:extLst>
              </a:tr>
              <a:tr h="260060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 dirty="0" err="1">
                          <a:effectLst/>
                        </a:rPr>
                        <a:t>Weltevreden</a:t>
                      </a:r>
                      <a:r>
                        <a:rPr lang="en-ZA" sz="1300" u="none" strike="noStrike" dirty="0">
                          <a:effectLst/>
                        </a:rPr>
                        <a:t> Valley North 1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1,4%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0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1,8%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87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7905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565328384"/>
                  </a:ext>
                </a:extLst>
              </a:tr>
              <a:tr h="147512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 dirty="0">
                          <a:effectLst/>
                        </a:rPr>
                        <a:t>Crossroads SP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0,1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5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3,9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13,1%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231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9366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999530317"/>
                  </a:ext>
                </a:extLst>
              </a:tr>
              <a:tr h="147512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 dirty="0">
                          <a:effectLst/>
                        </a:rPr>
                        <a:t>Kosovo Informal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8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5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2,1%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127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6113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594442636"/>
                  </a:ext>
                </a:extLst>
              </a:tr>
              <a:tr h="147512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 dirty="0">
                          <a:effectLst/>
                        </a:rPr>
                        <a:t>Heinz Park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6,8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0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8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242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4185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2941377887"/>
                  </a:ext>
                </a:extLst>
              </a:tr>
              <a:tr h="147512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 dirty="0">
                          <a:effectLst/>
                        </a:rPr>
                        <a:t>Sweet Home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1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70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4031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806462161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46EF9056-737F-C24C-8C25-D82E89A41F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23118620"/>
              </p:ext>
            </p:extLst>
          </p:nvPr>
        </p:nvGraphicFramePr>
        <p:xfrm>
          <a:off x="144959" y="3428999"/>
          <a:ext cx="8837685" cy="2866201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591719">
                  <a:extLst>
                    <a:ext uri="{9D8B030D-6E8A-4147-A177-3AD203B41FA5}">
                      <a16:colId xmlns:a16="http://schemas.microsoft.com/office/drawing/2014/main" xmlns="" val="1216294237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3592739246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3401161207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637411810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43704569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565441050"/>
                    </a:ext>
                  </a:extLst>
                </a:gridCol>
                <a:gridCol w="1133398">
                  <a:extLst>
                    <a:ext uri="{9D8B030D-6E8A-4147-A177-3AD203B41FA5}">
                      <a16:colId xmlns:a16="http://schemas.microsoft.com/office/drawing/2014/main" xmlns="" val="3420906427"/>
                    </a:ext>
                  </a:extLst>
                </a:gridCol>
              </a:tblGrid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b="1" u="none" strike="noStrike" dirty="0">
                          <a:effectLst/>
                        </a:rPr>
                        <a:t>Khayelitsha Sub-places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 dirty="0">
                          <a:effectLst/>
                        </a:rPr>
                        <a:t>35 to 49yrs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 dirty="0">
                          <a:effectLst/>
                        </a:rPr>
                        <a:t>50 to 59yrs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 dirty="0">
                          <a:effectLst/>
                        </a:rPr>
                        <a:t>60yrs+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 dirty="0">
                          <a:effectLst/>
                        </a:rPr>
                        <a:t>35yrs+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 dirty="0">
                          <a:effectLst/>
                        </a:rPr>
                        <a:t>Total registered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b="1" u="none" strike="noStrike" dirty="0">
                          <a:effectLst/>
                        </a:rPr>
                        <a:t>Population 35yrs+</a:t>
                      </a:r>
                      <a:endParaRPr lang="en-ZA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ctr"/>
                </a:tc>
                <a:extLst>
                  <a:ext uri="{0D108BD9-81ED-4DB2-BD59-A6C34878D82A}">
                    <a16:rowId xmlns:a16="http://schemas.microsoft.com/office/drawing/2014/main" xmlns="" val="2481254774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Ikwezi Park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8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4,5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6,0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3,0%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660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2323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3872221704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Village V3 North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0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8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7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902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5906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2283255889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Khayelitsha T3-V5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3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5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1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410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3221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3744418223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Khayelitsha T3-V2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9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4,3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485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1274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4172681371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Victoria Merge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5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7,3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5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60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0202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1671636166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Khayelitsha T2-V2b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4,9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6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7,0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0,4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053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0144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3500996174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Khayelitsha T3-V3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3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1,3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9,2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0,4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024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9857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2670643715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Town 3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8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4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7,4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4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22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6914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368781051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Village V1 South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2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8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9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73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6712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396897382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Village V2 North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5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6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70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6640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2771313669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Village V1 North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2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5,2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8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7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44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6542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3587404333"/>
                  </a:ext>
                </a:extLst>
              </a:tr>
              <a:tr h="142349">
                <a:tc>
                  <a:txBody>
                    <a:bodyPr/>
                    <a:lstStyle/>
                    <a:p>
                      <a:pPr algn="l" fontAlgn="b"/>
                      <a:r>
                        <a:rPr lang="en-ZA" sz="1300" u="none" strike="noStrike">
                          <a:effectLst/>
                        </a:rPr>
                        <a:t>Village V4 North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3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3,2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2,8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1,9%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>
                          <a:effectLst/>
                        </a:rPr>
                        <a:t>89</a:t>
                      </a:r>
                      <a:endParaRPr lang="en-ZA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300" u="none" strike="noStrike" dirty="0">
                          <a:effectLst/>
                        </a:rPr>
                        <a:t>4767</a:t>
                      </a:r>
                      <a:endParaRPr lang="en-ZA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17" marR="7117" marT="7117" marB="0" anchor="b"/>
                </a:tc>
                <a:extLst>
                  <a:ext uri="{0D108BD9-81ED-4DB2-BD59-A6C34878D82A}">
                    <a16:rowId xmlns:a16="http://schemas.microsoft.com/office/drawing/2014/main" xmlns="" val="32956896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89910385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BB2699-2CDA-44A8-BE6E-DA302536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9592" y="2581089"/>
            <a:ext cx="6210968" cy="8644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ZA" sz="3200" b="1" dirty="0"/>
              <a:t>Communications </a:t>
            </a:r>
          </a:p>
        </p:txBody>
      </p:sp>
    </p:spTree>
    <p:extLst>
      <p:ext uri="{BB962C8B-B14F-4D97-AF65-F5344CB8AC3E}">
        <p14:creationId xmlns:p14="http://schemas.microsoft.com/office/powerpoint/2010/main" xmlns="" val="245112283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974C73C-9FAE-45F8-B80C-F7A965876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Keeping Safe Messag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D3BEC20-BDE8-4F6B-BCF3-ABEB2D854A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506" b="0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ZA" sz="506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C0750D8D-3852-4952-8F3C-454A2A6636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5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45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xmlns="" id="{75EA02B7-2330-4FB5-B082-3C1B2F14AE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5496" y="1196752"/>
            <a:ext cx="2332322" cy="32595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0CF879E5-B72A-4DA8-A00F-3007EDC258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683568" y="2996952"/>
            <a:ext cx="1954331" cy="2539464"/>
          </a:xfrm>
          <a:prstGeom prst="rect">
            <a:avLst/>
          </a:prstGeom>
        </p:spPr>
      </p:pic>
      <p:pic>
        <p:nvPicPr>
          <p:cNvPr id="8" name="Picture 7" descr="Diagram, venn diagram&#10;&#10;Description automatically generated">
            <a:extLst>
              <a:ext uri="{FF2B5EF4-FFF2-40B4-BE49-F238E27FC236}">
                <a16:creationId xmlns:a16="http://schemas.microsoft.com/office/drawing/2014/main" xmlns="" id="{7594FD05-4CA1-495D-96FC-FF43CCEEC67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020968" y="1196752"/>
            <a:ext cx="2589176" cy="2592288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xmlns="" id="{BC80BB60-0FA6-47E8-BB5D-1011DFF4971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738942" y="3682135"/>
            <a:ext cx="3237252" cy="1890115"/>
          </a:xfrm>
          <a:prstGeom prst="rect">
            <a:avLst/>
          </a:prstGeom>
        </p:spPr>
      </p:pic>
      <p:pic>
        <p:nvPicPr>
          <p:cNvPr id="10" name="Picture 9" descr="A picture containing diagram&#10;&#10;Description automatically generated">
            <a:extLst>
              <a:ext uri="{FF2B5EF4-FFF2-40B4-BE49-F238E27FC236}">
                <a16:creationId xmlns:a16="http://schemas.microsoft.com/office/drawing/2014/main" xmlns="" id="{7F67C3C3-EEAA-4534-9061-05F0F2E42C1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30162" y="3068960"/>
            <a:ext cx="3068157" cy="179534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1F423087-E646-4D8B-BACD-BC01C86A79C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94389" y="1196752"/>
            <a:ext cx="3103930" cy="1795343"/>
          </a:xfrm>
          <a:prstGeom prst="rect">
            <a:avLst/>
          </a:prstGeom>
        </p:spPr>
      </p:pic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xmlns="" id="{59AC794D-B118-417A-BBC2-8D6F8ABFB4B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30162" y="4941168"/>
            <a:ext cx="3078342" cy="1722465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AA7A66C9-DAAD-4E41-8A41-7F62A844EB63}"/>
              </a:ext>
            </a:extLst>
          </p:cNvPr>
          <p:cNvCxnSpPr/>
          <p:nvPr/>
        </p:nvCxnSpPr>
        <p:spPr>
          <a:xfrm>
            <a:off x="2738942" y="1196752"/>
            <a:ext cx="0" cy="5271398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C53C5C56-EA07-486E-8D4E-C7485F9D9E34}"/>
              </a:ext>
            </a:extLst>
          </p:cNvPr>
          <p:cNvCxnSpPr/>
          <p:nvPr/>
        </p:nvCxnSpPr>
        <p:spPr>
          <a:xfrm>
            <a:off x="5940152" y="1196752"/>
            <a:ext cx="0" cy="5271398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338025594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120B5F-2524-4EE6-8CC2-B189161CC3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31703"/>
            <a:ext cx="8568952" cy="533001"/>
          </a:xfrm>
        </p:spPr>
        <p:txBody>
          <a:bodyPr/>
          <a:lstStyle/>
          <a:p>
            <a:r>
              <a:rPr lang="en-US" sz="2400" dirty="0"/>
              <a:t>Vaccination messaging: Walk-in priority group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D3222A1-69FD-4569-B6F9-E561678A13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506" b="0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-ZA" sz="506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22C7DD0-22B4-469C-8976-8C7C87A854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5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45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96AB043-4D78-40EA-A6F7-9B84AA4A60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31640" y="1083376"/>
            <a:ext cx="6372816" cy="4259199"/>
          </a:xfrm>
          <a:prstGeom prst="rect">
            <a:avLst/>
          </a:prstGeom>
          <a:effectLst>
            <a:outerShdw blurRad="50800" dist="50800" dir="5400000" algn="ctr" rotWithShape="0">
              <a:schemeClr val="bg1"/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A27C4750-CDD5-44F4-8FC1-511ED4FA5E2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321" y="4515714"/>
            <a:ext cx="4389216" cy="218326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3FF44C3-CD3B-4438-9524-A57366802F2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77720" y="4515714"/>
            <a:ext cx="4389216" cy="2183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49445369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83AE856-2A8D-42A3-8023-A4C5CD4BC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Stories about expanding access</a:t>
            </a:r>
            <a:endParaRPr lang="en-GB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4E0ECA3-C5AE-46B7-9116-6422149E85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506" b="0" i="0" u="none" strike="noStrike" kern="120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514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ZA" sz="506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6473288-C847-4898-BB9F-FE04C0E27A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5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45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EC48886-03AD-40AD-A388-0EFC876920E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99989" y="1273834"/>
            <a:ext cx="4572003" cy="23619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00724037-EEF2-4060-AE6A-7EE3B13951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520" y="3547838"/>
            <a:ext cx="4138573" cy="31889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D63FF9FD-55FA-4A6E-8FFA-0AA9B2442B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499992" y="3933056"/>
            <a:ext cx="4572000" cy="236190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01AC82B7-1C80-4BD0-A68D-CAC46E49BC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155700"/>
            <a:ext cx="4332996" cy="2154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2362989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BC29CF0-1D03-4F8F-8F16-F4E5423CF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Keeping communities informed</a:t>
            </a:r>
            <a:endParaRPr lang="en-US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FD040E9-B7A9-4B85-B11D-57556E4787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506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ZA" sz="506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D7829EE-C6C7-4CB2-AB04-E5C9EFF239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5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o to Insert &gt; Header &amp; Footer &gt; Enter presentation name into footer field</a:t>
            </a:r>
            <a:endParaRPr kumimoji="0" lang="en-GB" sz="45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DDD0EA5-C050-4CBD-B2D6-823A3D1F516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762231" y="3825212"/>
            <a:ext cx="2736304" cy="27363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01D8D45-366C-4816-81F1-794E516885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277936" y="1119610"/>
            <a:ext cx="3704894" cy="2612234"/>
          </a:xfrm>
          <a:prstGeom prst="rect">
            <a:avLst/>
          </a:prstGeom>
        </p:spPr>
      </p:pic>
      <p:pic>
        <p:nvPicPr>
          <p:cNvPr id="8" name="Picture 7" descr="A picture containing timeline&#10;&#10;Description automatically generated">
            <a:extLst>
              <a:ext uri="{FF2B5EF4-FFF2-40B4-BE49-F238E27FC236}">
                <a16:creationId xmlns:a16="http://schemas.microsoft.com/office/drawing/2014/main" xmlns="" id="{BB749D13-ABB8-4C60-A8DA-2ACB0F9348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7" y="1097603"/>
            <a:ext cx="4652529" cy="465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1713635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100" dirty="0"/>
              <a:t>Message for 35yr to 49yr old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3397" y="1089696"/>
            <a:ext cx="8597205" cy="5768304"/>
          </a:xfrm>
        </p:spPr>
        <p:txBody>
          <a:bodyPr>
            <a:noAutofit/>
          </a:bodyPr>
          <a:lstStyle/>
          <a:p>
            <a:pPr marL="300044" indent="-300044">
              <a:lnSpc>
                <a:spcPct val="150000"/>
              </a:lnSpc>
              <a:buFont typeface="+mj-lt"/>
              <a:buAutoNum type="arabicPeriod"/>
            </a:pPr>
            <a:r>
              <a:rPr lang="en-ZA" sz="1700" b="0" dirty="0"/>
              <a:t>The EVDS system is </a:t>
            </a:r>
            <a:r>
              <a:rPr lang="en-ZA" sz="1700" dirty="0"/>
              <a:t>accepting registration of over 35 year old citizens </a:t>
            </a:r>
            <a:r>
              <a:rPr lang="en-ZA" sz="1700" b="0" dirty="0"/>
              <a:t>from </a:t>
            </a:r>
            <a:r>
              <a:rPr lang="en-ZA" sz="1700" dirty="0"/>
              <a:t>15</a:t>
            </a:r>
            <a:r>
              <a:rPr lang="en-ZA" sz="1700" baseline="30000" dirty="0"/>
              <a:t>th</a:t>
            </a:r>
            <a:r>
              <a:rPr lang="en-ZA" sz="1700" dirty="0"/>
              <a:t> July</a:t>
            </a:r>
            <a:r>
              <a:rPr lang="en-ZA" sz="1700" b="0" dirty="0"/>
              <a:t>.</a:t>
            </a:r>
          </a:p>
          <a:p>
            <a:pPr marL="300044" indent="-300044">
              <a:lnSpc>
                <a:spcPct val="150000"/>
              </a:lnSpc>
              <a:buFont typeface="+mj-lt"/>
              <a:buAutoNum type="arabicPeriod"/>
            </a:pPr>
            <a:r>
              <a:rPr lang="en-ZA" sz="1700" dirty="0"/>
              <a:t>Vaccinations of this age band </a:t>
            </a:r>
            <a:r>
              <a:rPr lang="en-ZA" sz="1700" b="0" dirty="0"/>
              <a:t>are being </a:t>
            </a:r>
            <a:r>
              <a:rPr lang="en-ZA" sz="1700" dirty="0"/>
              <a:t>scheduled on EVDS</a:t>
            </a:r>
            <a:r>
              <a:rPr lang="en-ZA" sz="1700" b="0" dirty="0"/>
              <a:t>.</a:t>
            </a:r>
          </a:p>
          <a:p>
            <a:pPr marL="300044" indent="-300044">
              <a:lnSpc>
                <a:spcPct val="150000"/>
              </a:lnSpc>
              <a:buFont typeface="+mj-lt"/>
              <a:buAutoNum type="arabicPeriod"/>
            </a:pPr>
            <a:r>
              <a:rPr lang="en-ZA" sz="1700" b="0" dirty="0"/>
              <a:t>Should over 35-year-olds present at sites with </a:t>
            </a:r>
            <a:r>
              <a:rPr lang="en-ZA" sz="1700" dirty="0"/>
              <a:t>legitimate EVDS appointments</a:t>
            </a:r>
            <a:r>
              <a:rPr lang="en-ZA" sz="1700" b="0" dirty="0"/>
              <a:t> – these </a:t>
            </a:r>
            <a:r>
              <a:rPr lang="en-ZA" sz="1700" dirty="0"/>
              <a:t>appointments will be honoured</a:t>
            </a:r>
            <a:r>
              <a:rPr lang="en-ZA" sz="1700" b="0" dirty="0"/>
              <a:t>. </a:t>
            </a:r>
          </a:p>
          <a:p>
            <a:pPr marL="300044" indent="-300044">
              <a:lnSpc>
                <a:spcPct val="150000"/>
              </a:lnSpc>
              <a:buFont typeface="+mj-lt"/>
              <a:buAutoNum type="arabicPeriod"/>
            </a:pPr>
            <a:r>
              <a:rPr lang="en-ZA" sz="1700" b="0" dirty="0"/>
              <a:t>We </a:t>
            </a:r>
            <a:r>
              <a:rPr lang="en-ZA" sz="1700" dirty="0"/>
              <a:t>discourage 35 – 49 year old citizens </a:t>
            </a:r>
            <a:r>
              <a:rPr lang="en-ZA" sz="1700" b="0" dirty="0"/>
              <a:t>from </a:t>
            </a:r>
            <a:r>
              <a:rPr lang="en-ZA" sz="1700" dirty="0"/>
              <a:t>presenting for walk ins at sites</a:t>
            </a:r>
            <a:r>
              <a:rPr lang="en-ZA" sz="1700" b="0" dirty="0"/>
              <a:t>, but </a:t>
            </a:r>
            <a:r>
              <a:rPr lang="en-ZA" sz="1700" dirty="0"/>
              <a:t>will accept, based on available capacity</a:t>
            </a:r>
            <a:r>
              <a:rPr lang="en-ZA" sz="1700" b="0" dirty="0"/>
              <a:t>.</a:t>
            </a:r>
          </a:p>
          <a:p>
            <a:pPr marL="300044" indent="-300044">
              <a:lnSpc>
                <a:spcPct val="150000"/>
              </a:lnSpc>
              <a:buFont typeface="+mj-lt"/>
              <a:buAutoNum type="arabicPeriod"/>
            </a:pPr>
            <a:r>
              <a:rPr lang="en-ZA" sz="1700" b="0" dirty="0"/>
              <a:t>Our </a:t>
            </a:r>
            <a:r>
              <a:rPr lang="en-ZA" sz="1700" dirty="0"/>
              <a:t>current priority for walk-ins </a:t>
            </a:r>
            <a:r>
              <a:rPr lang="en-ZA" sz="1700" b="0" dirty="0"/>
              <a:t>remains the same :</a:t>
            </a:r>
          </a:p>
          <a:p>
            <a:pPr marL="757238" indent="-439738">
              <a:lnSpc>
                <a:spcPct val="150000"/>
              </a:lnSpc>
              <a:buFont typeface="+mj-lt"/>
              <a:buAutoNum type="alphaLcParenR"/>
            </a:pPr>
            <a:r>
              <a:rPr lang="en-ZA" sz="1700" dirty="0"/>
              <a:t>Priority 1</a:t>
            </a:r>
            <a:r>
              <a:rPr lang="en-ZA" sz="1700" b="0" dirty="0"/>
              <a:t> - people &gt;60 years requiring their 1st dose of Pfizer vaccine </a:t>
            </a:r>
          </a:p>
          <a:p>
            <a:pPr marL="757238" indent="-439738">
              <a:lnSpc>
                <a:spcPct val="150000"/>
              </a:lnSpc>
              <a:buFont typeface="+mj-lt"/>
              <a:buAutoNum type="alphaLcParenR"/>
            </a:pPr>
            <a:r>
              <a:rPr lang="en-ZA" sz="1700" dirty="0"/>
              <a:t>Priority 2</a:t>
            </a:r>
            <a:r>
              <a:rPr lang="en-ZA" sz="1700" b="0" dirty="0"/>
              <a:t> - people &gt;60 years requiring their 2nd dose of Pfizer vaccine </a:t>
            </a:r>
          </a:p>
          <a:p>
            <a:pPr marL="757238" indent="-439738">
              <a:lnSpc>
                <a:spcPct val="150000"/>
              </a:lnSpc>
              <a:buFont typeface="+mj-lt"/>
              <a:buAutoNum type="alphaLcParenR"/>
            </a:pPr>
            <a:r>
              <a:rPr lang="en-ZA" sz="1700" dirty="0"/>
              <a:t>Priority 3</a:t>
            </a:r>
            <a:r>
              <a:rPr lang="en-ZA" sz="1700" b="0" dirty="0"/>
              <a:t> - people aged 50 -59 years requiring their 1st dose of Pfizer vaccine.</a:t>
            </a:r>
          </a:p>
          <a:p>
            <a:pPr marL="757238" indent="-439738">
              <a:lnSpc>
                <a:spcPct val="150000"/>
              </a:lnSpc>
              <a:buFont typeface="+mj-lt"/>
              <a:buAutoNum type="alphaLcParenR"/>
            </a:pPr>
            <a:r>
              <a:rPr lang="en-ZA" sz="1700" dirty="0"/>
              <a:t>Priority 4 </a:t>
            </a:r>
            <a:r>
              <a:rPr lang="en-ZA" sz="1700" b="0" dirty="0"/>
              <a:t>– people aged 35-49 years</a:t>
            </a:r>
            <a:endParaRPr lang="en-ZA" sz="1700" dirty="0"/>
          </a:p>
        </p:txBody>
      </p:sp>
    </p:spTree>
    <p:extLst>
      <p:ext uri="{BB962C8B-B14F-4D97-AF65-F5344CB8AC3E}">
        <p14:creationId xmlns:p14="http://schemas.microsoft.com/office/powerpoint/2010/main" xmlns="" val="203956013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BB2699-2CDA-44A8-BE6E-DA302536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7584" y="2564513"/>
            <a:ext cx="6210968" cy="8644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ZA" sz="3200" b="1" dirty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xmlns="" val="24130212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Rectangle 45">
            <a:extLst>
              <a:ext uri="{FF2B5EF4-FFF2-40B4-BE49-F238E27FC236}">
                <a16:creationId xmlns:a16="http://schemas.microsoft.com/office/drawing/2014/main" xmlns="" id="{9B76D444-2756-434F-AE61-96D69830C13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BE70FEB-2F74-4452-86DA-B4023148E949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1173" y="209472"/>
            <a:ext cx="8654117" cy="4595374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A27B6159-7734-4564-9E0F-C4BC43C36E5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ltGray">
          <a:xfrm>
            <a:off x="241173" y="4782312"/>
            <a:ext cx="8661654" cy="1755648"/>
          </a:xfrm>
          <a:prstGeom prst="rect">
            <a:avLst/>
          </a:prstGeom>
          <a:solidFill>
            <a:schemeClr val="tx1">
              <a:alpha val="93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xmlns="" id="{06EC7DFA-AC8F-4349-B77F-69A75628C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5009083"/>
            <a:ext cx="2167128" cy="134599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400"/>
            <a:r>
              <a:rPr lang="en-US" sz="2300" b="1" dirty="0">
                <a:solidFill>
                  <a:schemeClr val="bg1"/>
                </a:solidFill>
              </a:rPr>
              <a:t>Provincial Overview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E2FFB46B-05BC-4950-B18A-9593FDAE6ED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CxnSpPr>
        <p:spPr>
          <a:xfrm flipV="1">
            <a:off x="3044952" y="5237979"/>
            <a:ext cx="0" cy="914400"/>
          </a:xfrm>
          <a:prstGeom prst="line">
            <a:avLst/>
          </a:prstGeom>
          <a:ln w="19050">
            <a:solidFill>
              <a:schemeClr val="bg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6B941F1C-799E-41F9-B01B-6369CA1A7B31}"/>
              </a:ext>
            </a:extLst>
          </p:cNvPr>
          <p:cNvSpPr txBox="1"/>
          <p:nvPr/>
        </p:nvSpPr>
        <p:spPr>
          <a:xfrm>
            <a:off x="3187827" y="4827379"/>
            <a:ext cx="5748154" cy="17916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 numbers appear to </a:t>
            </a:r>
            <a:r>
              <a:rPr lang="en-US" sz="1300" dirty="0">
                <a:solidFill>
                  <a:prstClr val="black"/>
                </a:solidFill>
                <a:latin typeface="Calibri" panose="020F0502020204030204"/>
              </a:rPr>
              <a:t>have flattened; case numbers in last week similar to week before.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ortion positive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, however, continued to increase, reaching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9%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last week.</a:t>
            </a:r>
          </a:p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dirty="0">
                <a:solidFill>
                  <a:prstClr val="black"/>
                </a:solidFill>
                <a:latin typeface="Calibri" panose="020F0502020204030204"/>
              </a:rPr>
              <a:t>The concern is that testing has decreased, due to a range of factors, including taxi violence, so unclear whether we have reached the peak of this wave.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lvl="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prstClr val="black"/>
                </a:solidFill>
              </a:rPr>
              <a:t>We are currently seeing an </a:t>
            </a:r>
            <a:r>
              <a:rPr lang="en-US" sz="1300" b="1" dirty="0">
                <a:solidFill>
                  <a:prstClr val="black"/>
                </a:solidFill>
              </a:rPr>
              <a:t>average of 2345 new diagnoses </a:t>
            </a:r>
            <a:r>
              <a:rPr lang="en-US" sz="1300" dirty="0">
                <a:solidFill>
                  <a:prstClr val="black"/>
                </a:solidFill>
              </a:rPr>
              <a:t>each day. Admissions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e increasing with an average of </a:t>
            </a:r>
            <a:r>
              <a:rPr lang="en-US" sz="1300" b="1" dirty="0">
                <a:solidFill>
                  <a:prstClr val="black"/>
                </a:solidFill>
                <a:latin typeface="Calibri" panose="020F0502020204030204"/>
              </a:rPr>
              <a:t>330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ew admissions per day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Deaths have also increased, with around </a:t>
            </a:r>
            <a:r>
              <a:rPr lang="en-US" sz="1300" b="1" dirty="0">
                <a:solidFill>
                  <a:prstClr val="black"/>
                </a:solidFill>
                <a:latin typeface="Calibri" panose="020F0502020204030204"/>
              </a:rPr>
              <a:t>82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eaths each day.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39C89D7-C86C-4E32-BCE8-D5B1E5C0B2A3}"/>
              </a:ext>
            </a:extLst>
          </p:cNvPr>
          <p:cNvSpPr txBox="1"/>
          <p:nvPr/>
        </p:nvSpPr>
        <p:spPr>
          <a:xfrm>
            <a:off x="3218072" y="4811611"/>
            <a:ext cx="5232654" cy="17556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5715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D8BFF5A2-45DD-4E37-8BF8-10B6FFF883F4}"/>
              </a:ext>
            </a:extLst>
          </p:cNvPr>
          <p:cNvGrpSpPr/>
          <p:nvPr/>
        </p:nvGrpSpPr>
        <p:grpSpPr>
          <a:xfrm>
            <a:off x="3029741" y="1273444"/>
            <a:ext cx="4974542" cy="2688703"/>
            <a:chOff x="738787" y="1142141"/>
            <a:chExt cx="5928471" cy="321411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0722ADB4-40CA-4A46-B803-6D6A8B57A80A}"/>
                </a:ext>
              </a:extLst>
            </p:cNvPr>
            <p:cNvSpPr txBox="1"/>
            <p:nvPr/>
          </p:nvSpPr>
          <p:spPr>
            <a:xfrm>
              <a:off x="738787" y="1142141"/>
              <a:ext cx="2482242" cy="625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dirty="0">
                  <a:solidFill>
                    <a:srgbClr val="FF0000"/>
                  </a:solidFill>
                  <a:latin typeface="Calibri" panose="020F0502020204030204"/>
                </a:rPr>
                <a:t>3.2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% </a:t>
              </a: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 last wk </a:t>
              </a:r>
              <a:b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11 July – 18 July 2021)</a:t>
              </a:r>
              <a:endPara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6206570F-F5B8-4D49-9CC0-07E27EA4F060}"/>
                </a:ext>
              </a:extLst>
            </p:cNvPr>
            <p:cNvSpPr txBox="1"/>
            <p:nvPr/>
          </p:nvSpPr>
          <p:spPr>
            <a:xfrm>
              <a:off x="756915" y="3730794"/>
              <a:ext cx="2393756" cy="625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r"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0 % </a:t>
              </a: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 last </a:t>
              </a:r>
              <a:r>
                <a:rPr kumimoji="0" lang="en-US" sz="1400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k</a:t>
              </a: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b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11</a:t>
              </a:r>
              <a:r>
                <a:rPr lang="en-US" sz="1400" dirty="0">
                  <a:solidFill>
                    <a:srgbClr val="FF0000"/>
                  </a:solidFill>
                </a:rPr>
                <a:t> July – 18 July 2021)</a:t>
              </a:r>
              <a:endPara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768B58E9-85BF-4CDF-85C0-FDE6EA3FD158}"/>
                </a:ext>
              </a:extLst>
            </p:cNvPr>
            <p:cNvSpPr txBox="1"/>
            <p:nvPr/>
          </p:nvSpPr>
          <p:spPr>
            <a:xfrm>
              <a:off x="4273502" y="3730794"/>
              <a:ext cx="2393756" cy="6254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r"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1 % </a:t>
              </a: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 last wk </a:t>
              </a:r>
              <a:b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11</a:t>
              </a:r>
              <a:r>
                <a:rPr lang="en-US" sz="1400" dirty="0">
                  <a:solidFill>
                    <a:srgbClr val="FF0000"/>
                  </a:solidFill>
                </a:rPr>
                <a:t> July – 18 July 2021)</a:t>
              </a:r>
              <a:endPara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424104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100" dirty="0"/>
              <a:t>Concluding remark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3397" y="1064138"/>
            <a:ext cx="8597205" cy="5768304"/>
          </a:xfrm>
        </p:spPr>
        <p:txBody>
          <a:bodyPr>
            <a:noAutofit/>
          </a:bodyPr>
          <a:lstStyle/>
          <a:p>
            <a:pPr marL="300044" indent="-300044">
              <a:lnSpc>
                <a:spcPct val="150000"/>
              </a:lnSpc>
              <a:buFont typeface="+mj-lt"/>
              <a:buAutoNum type="arabicPeriod"/>
            </a:pPr>
            <a:r>
              <a:rPr lang="en-ZA" sz="1700" b="0" dirty="0"/>
              <a:t>We are experiencing </a:t>
            </a:r>
            <a:r>
              <a:rPr lang="en-ZA" sz="1700" dirty="0"/>
              <a:t>a flattening of the 3</a:t>
            </a:r>
            <a:r>
              <a:rPr lang="en-ZA" sz="1700" baseline="30000" dirty="0"/>
              <a:t>rd</a:t>
            </a:r>
            <a:r>
              <a:rPr lang="en-ZA" sz="1700" dirty="0"/>
              <a:t> wave</a:t>
            </a:r>
            <a:r>
              <a:rPr lang="en-ZA" sz="1700" b="0" dirty="0"/>
              <a:t>, but urge everyone to </a:t>
            </a:r>
            <a:r>
              <a:rPr lang="en-ZA" sz="1700" dirty="0"/>
              <a:t>adhere strictly to protective behaviours</a:t>
            </a:r>
            <a:r>
              <a:rPr lang="en-ZA" sz="1700" b="0" dirty="0"/>
              <a:t>, as a </a:t>
            </a:r>
            <a:r>
              <a:rPr lang="en-ZA" sz="1700" dirty="0"/>
              <a:t>key drive to contain </a:t>
            </a:r>
            <a:r>
              <a:rPr lang="en-ZA" sz="1700" b="0" dirty="0"/>
              <a:t>it. We will </a:t>
            </a:r>
            <a:r>
              <a:rPr lang="en-ZA" sz="1700" dirty="0"/>
              <a:t>monitor the 3</a:t>
            </a:r>
            <a:r>
              <a:rPr lang="en-ZA" sz="1700" baseline="30000" dirty="0"/>
              <a:t>rd</a:t>
            </a:r>
            <a:r>
              <a:rPr lang="en-ZA" sz="1700" dirty="0"/>
              <a:t> wave </a:t>
            </a:r>
            <a:r>
              <a:rPr lang="en-ZA" sz="1700" b="0" dirty="0"/>
              <a:t>over </a:t>
            </a:r>
            <a:r>
              <a:rPr lang="en-ZA" sz="1700" dirty="0"/>
              <a:t>the coming weeks</a:t>
            </a:r>
            <a:r>
              <a:rPr lang="en-ZA" sz="1700" b="0" dirty="0"/>
              <a:t>. </a:t>
            </a:r>
          </a:p>
          <a:p>
            <a:pPr marL="309569" indent="-309569">
              <a:lnSpc>
                <a:spcPct val="150000"/>
              </a:lnSpc>
              <a:buFont typeface="+mj-lt"/>
              <a:buAutoNum type="arabicPeriod"/>
            </a:pPr>
            <a:r>
              <a:rPr lang="en-ZA" sz="1700" b="0" dirty="0"/>
              <a:t>We have </a:t>
            </a:r>
            <a:r>
              <a:rPr lang="en-ZA" sz="1700" dirty="0"/>
              <a:t>revised our response for the 3</a:t>
            </a:r>
            <a:r>
              <a:rPr lang="en-ZA" sz="1700" baseline="30000" dirty="0"/>
              <a:t>rd</a:t>
            </a:r>
            <a:r>
              <a:rPr lang="en-ZA" sz="1700" dirty="0"/>
              <a:t> wave</a:t>
            </a:r>
            <a:r>
              <a:rPr lang="en-ZA" sz="1700" b="0" dirty="0"/>
              <a:t>, with </a:t>
            </a:r>
            <a:r>
              <a:rPr lang="en-ZA" sz="1700" dirty="0"/>
              <a:t>clearly identified trigger points</a:t>
            </a:r>
            <a:r>
              <a:rPr lang="en-ZA" sz="1700" b="0" dirty="0"/>
              <a:t> for an </a:t>
            </a:r>
            <a:r>
              <a:rPr lang="en-ZA" sz="1700" dirty="0"/>
              <a:t>appropriate health platform and societal response</a:t>
            </a:r>
            <a:r>
              <a:rPr lang="en-ZA" sz="1700" b="0" dirty="0"/>
              <a:t>.  </a:t>
            </a:r>
          </a:p>
          <a:p>
            <a:pPr marL="309569" indent="-309569">
              <a:lnSpc>
                <a:spcPct val="150000"/>
              </a:lnSpc>
              <a:buFont typeface="+mj-lt"/>
              <a:buAutoNum type="arabicPeriod"/>
            </a:pPr>
            <a:r>
              <a:rPr lang="en-ZA" sz="1700" b="0" dirty="0"/>
              <a:t>We continue to require a concerted </a:t>
            </a:r>
            <a:r>
              <a:rPr lang="en-ZA" sz="1700" dirty="0"/>
              <a:t>whole of government </a:t>
            </a:r>
            <a:r>
              <a:rPr lang="en-ZA" sz="1700" b="0" dirty="0"/>
              <a:t>and </a:t>
            </a:r>
            <a:r>
              <a:rPr lang="en-ZA" sz="1700" dirty="0"/>
              <a:t>whole of society response </a:t>
            </a:r>
            <a:r>
              <a:rPr lang="en-ZA" sz="1700" b="0" dirty="0"/>
              <a:t>to </a:t>
            </a:r>
            <a:r>
              <a:rPr lang="en-ZA" sz="1700" dirty="0"/>
              <a:t>flatten the</a:t>
            </a:r>
            <a:r>
              <a:rPr lang="en-ZA" sz="1700" b="0" dirty="0"/>
              <a:t> </a:t>
            </a:r>
            <a:r>
              <a:rPr lang="en-ZA" sz="1700" dirty="0"/>
              <a:t>3</a:t>
            </a:r>
            <a:r>
              <a:rPr lang="en-ZA" sz="1700" baseline="30000" dirty="0"/>
              <a:t>rd</a:t>
            </a:r>
            <a:r>
              <a:rPr lang="en-ZA" sz="1700" dirty="0"/>
              <a:t> wave, </a:t>
            </a:r>
            <a:r>
              <a:rPr lang="en-ZA" sz="1700" b="0" dirty="0"/>
              <a:t>to protect the health system.</a:t>
            </a:r>
          </a:p>
          <a:p>
            <a:pPr marL="309569" indent="-309569">
              <a:lnSpc>
                <a:spcPct val="150000"/>
              </a:lnSpc>
              <a:buFont typeface="+mj-lt"/>
              <a:buAutoNum type="arabicPeriod"/>
            </a:pPr>
            <a:r>
              <a:rPr lang="en-ZA" sz="1700" b="0" dirty="0"/>
              <a:t>We have </a:t>
            </a:r>
            <a:r>
              <a:rPr lang="en-ZA" sz="1700" dirty="0"/>
              <a:t>scaled up </a:t>
            </a:r>
            <a:r>
              <a:rPr lang="en-ZA" sz="1700" b="0" dirty="0"/>
              <a:t>our</a:t>
            </a:r>
            <a:r>
              <a:rPr lang="en-ZA" sz="1700" dirty="0"/>
              <a:t> Phase 2 vaccination capacity</a:t>
            </a:r>
            <a:r>
              <a:rPr lang="en-ZA" sz="1700" b="0" dirty="0"/>
              <a:t> to </a:t>
            </a:r>
            <a:r>
              <a:rPr lang="en-ZA" sz="1700" dirty="0"/>
              <a:t>administer vaccines </a:t>
            </a:r>
            <a:r>
              <a:rPr lang="en-ZA" sz="1700" b="0" dirty="0"/>
              <a:t>over the past 9 weeks, in a </a:t>
            </a:r>
            <a:r>
              <a:rPr lang="en-ZA" sz="1700" dirty="0"/>
              <a:t>sequential manner </a:t>
            </a:r>
            <a:r>
              <a:rPr lang="en-ZA" sz="1700" b="0" dirty="0"/>
              <a:t>in </a:t>
            </a:r>
            <a:r>
              <a:rPr lang="en-ZA" sz="1700" dirty="0"/>
              <a:t>each geographic area</a:t>
            </a:r>
            <a:r>
              <a:rPr lang="en-ZA" sz="1700" b="0" dirty="0"/>
              <a:t>. We have the </a:t>
            </a:r>
            <a:r>
              <a:rPr lang="en-ZA" sz="1700" dirty="0"/>
              <a:t>capacity to scale up rapidly, </a:t>
            </a:r>
            <a:r>
              <a:rPr lang="en-ZA" sz="1700" b="0" dirty="0"/>
              <a:t>as we </a:t>
            </a:r>
            <a:r>
              <a:rPr lang="en-ZA" sz="1700" dirty="0"/>
              <a:t>receive more vaccines</a:t>
            </a:r>
            <a:r>
              <a:rPr lang="en-ZA" sz="1700" b="0" dirty="0"/>
              <a:t>. </a:t>
            </a:r>
          </a:p>
          <a:p>
            <a:pPr marL="309569" indent="-309569">
              <a:lnSpc>
                <a:spcPct val="150000"/>
              </a:lnSpc>
              <a:buFont typeface="+mj-lt"/>
              <a:buAutoNum type="arabicPeriod"/>
            </a:pPr>
            <a:r>
              <a:rPr lang="en-ZA" sz="1700" b="0" dirty="0"/>
              <a:t>We need to continue to </a:t>
            </a:r>
            <a:r>
              <a:rPr lang="en-ZA" sz="1700" dirty="0"/>
              <a:t>mobilise and assist everyone &gt;35 years </a:t>
            </a:r>
            <a:r>
              <a:rPr lang="en-ZA" sz="1700" b="0" dirty="0"/>
              <a:t>to be </a:t>
            </a:r>
            <a:r>
              <a:rPr lang="en-ZA" sz="1700" dirty="0"/>
              <a:t>registered on the EVDS for Phase 2, </a:t>
            </a:r>
            <a:r>
              <a:rPr lang="en-ZA" sz="1700" b="0" dirty="0"/>
              <a:t>and </a:t>
            </a:r>
            <a:r>
              <a:rPr lang="en-ZA" sz="1700" dirty="0"/>
              <a:t>to be vaccinated</a:t>
            </a:r>
            <a:r>
              <a:rPr lang="en-ZA" sz="1700" b="0" dirty="0"/>
              <a:t>.</a:t>
            </a:r>
            <a:endParaRPr lang="en-ZA" sz="1700" dirty="0"/>
          </a:p>
        </p:txBody>
      </p:sp>
    </p:spTree>
    <p:extLst>
      <p:ext uri="{BB962C8B-B14F-4D97-AF65-F5344CB8AC3E}">
        <p14:creationId xmlns:p14="http://schemas.microsoft.com/office/powerpoint/2010/main" xmlns="" val="1225463274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5BB2699-2CDA-44A8-BE6E-DA302536D4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9592" y="2581089"/>
            <a:ext cx="6210968" cy="864487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ZA" sz="3200" b="1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xmlns="" val="12237965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Rectangle 45">
            <a:extLst>
              <a:ext uri="{FF2B5EF4-FFF2-40B4-BE49-F238E27FC236}">
                <a16:creationId xmlns:a16="http://schemas.microsoft.com/office/drawing/2014/main" xmlns="" id="{9B76D444-2756-434F-AE61-96D69830C13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AF5B75E-F832-4D0D-9020-68DDA145F744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41173" y="54423"/>
            <a:ext cx="8679109" cy="4709957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A27B6159-7734-4564-9E0F-C4BC43C36E5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ltGray">
          <a:xfrm>
            <a:off x="241173" y="4782312"/>
            <a:ext cx="8661654" cy="1755648"/>
          </a:xfrm>
          <a:prstGeom prst="rect">
            <a:avLst/>
          </a:prstGeom>
          <a:solidFill>
            <a:schemeClr val="tx1">
              <a:alpha val="93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xmlns="" id="{06EC7DFA-AC8F-4349-B77F-69A75628C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5009083"/>
            <a:ext cx="2167128" cy="134599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2300" b="1" dirty="0">
                <a:solidFill>
                  <a:schemeClr val="bg1"/>
                </a:solidFill>
              </a:rPr>
              <a:t>Metro Overview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E2FFB46B-05BC-4950-B18A-9593FDAE6ED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CxnSpPr>
        <p:spPr>
          <a:xfrm flipV="1">
            <a:off x="3044952" y="5237979"/>
            <a:ext cx="0" cy="914400"/>
          </a:xfrm>
          <a:prstGeom prst="line">
            <a:avLst/>
          </a:prstGeom>
          <a:ln w="19050">
            <a:solidFill>
              <a:schemeClr val="bg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39C89D7-C86C-4E32-BCE8-D5B1E5C0B2A3}"/>
              </a:ext>
            </a:extLst>
          </p:cNvPr>
          <p:cNvSpPr txBox="1"/>
          <p:nvPr/>
        </p:nvSpPr>
        <p:spPr>
          <a:xfrm>
            <a:off x="3127059" y="4919070"/>
            <a:ext cx="5732923" cy="153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all, there is a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% week on week increase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cases in the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ro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285750" lvl="0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3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t sub-districts are seeing a plateau in case numbers this last week, which may be artificial, and due to a range of factors including restricted testing criteria and the recent taxi violence.</a:t>
            </a:r>
          </a:p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 increasing proportion of cases in Metro are from the public sector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3C799A4A-A5F4-48C5-9FC5-C5FA03887267}"/>
              </a:ext>
            </a:extLst>
          </p:cNvPr>
          <p:cNvSpPr txBox="1"/>
          <p:nvPr/>
        </p:nvSpPr>
        <p:spPr>
          <a:xfrm>
            <a:off x="2798064" y="1932541"/>
            <a:ext cx="21256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%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last wk 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11  July – 18 July 2021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345E1997-98CF-4D22-8637-14FC016F95A2}"/>
              </a:ext>
            </a:extLst>
          </p:cNvPr>
          <p:cNvSpPr txBox="1"/>
          <p:nvPr/>
        </p:nvSpPr>
        <p:spPr>
          <a:xfrm>
            <a:off x="1350566" y="2308126"/>
            <a:ext cx="727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r>
              <a:rPr lang="en-US" dirty="0"/>
              <a:t>-0.5%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790B6697-EA7B-4192-B1A6-777457011155}"/>
              </a:ext>
            </a:extLst>
          </p:cNvPr>
          <p:cNvSpPr txBox="1"/>
          <p:nvPr/>
        </p:nvSpPr>
        <p:spPr>
          <a:xfrm>
            <a:off x="1503149" y="3748401"/>
            <a:ext cx="727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%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7977ED64-EC35-44E5-9435-0125B5BB8C90}"/>
              </a:ext>
            </a:extLst>
          </p:cNvPr>
          <p:cNvSpPr txBox="1"/>
          <p:nvPr/>
        </p:nvSpPr>
        <p:spPr>
          <a:xfrm>
            <a:off x="1465473" y="874025"/>
            <a:ext cx="727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%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29FFC7CA-2470-4767-A338-BFC01D87C29C}"/>
              </a:ext>
            </a:extLst>
          </p:cNvPr>
          <p:cNvSpPr txBox="1"/>
          <p:nvPr/>
        </p:nvSpPr>
        <p:spPr>
          <a:xfrm>
            <a:off x="3443044" y="3748401"/>
            <a:ext cx="7278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FF0000"/>
                </a:solidFill>
                <a:latin typeface="Calibri" panose="020F0502020204030204"/>
              </a:rPr>
              <a:t>-3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08F91C3-C6E3-4F02-8B35-E44FB5291F25}"/>
              </a:ext>
            </a:extLst>
          </p:cNvPr>
          <p:cNvSpPr txBox="1"/>
          <p:nvPr/>
        </p:nvSpPr>
        <p:spPr>
          <a:xfrm>
            <a:off x="5382939" y="3775535"/>
            <a:ext cx="727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FF0000"/>
                </a:solidFill>
                <a:latin typeface="Calibri" panose="020F0502020204030204"/>
              </a:rPr>
              <a:t>-3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541A942-0CA6-4B49-A043-1233F81BC892}"/>
              </a:ext>
            </a:extLst>
          </p:cNvPr>
          <p:cNvSpPr txBox="1"/>
          <p:nvPr/>
        </p:nvSpPr>
        <p:spPr>
          <a:xfrm>
            <a:off x="7342097" y="3775535"/>
            <a:ext cx="572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FF0000"/>
                </a:solidFill>
                <a:latin typeface="Calibri" panose="020F0502020204030204"/>
              </a:rPr>
              <a:t>14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B9F3ACD3-F055-45D7-A4E9-730BC2F84759}"/>
              </a:ext>
            </a:extLst>
          </p:cNvPr>
          <p:cNvSpPr txBox="1"/>
          <p:nvPr/>
        </p:nvSpPr>
        <p:spPr>
          <a:xfrm>
            <a:off x="7342097" y="2526679"/>
            <a:ext cx="7151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%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E338F701-FCD9-4396-AFF3-0AE460BC36A4}"/>
              </a:ext>
            </a:extLst>
          </p:cNvPr>
          <p:cNvSpPr txBox="1"/>
          <p:nvPr/>
        </p:nvSpPr>
        <p:spPr>
          <a:xfrm>
            <a:off x="7342097" y="1010783"/>
            <a:ext cx="7151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FF0000"/>
                </a:solidFill>
                <a:latin typeface="Calibri" panose="020F0502020204030204"/>
              </a:rPr>
              <a:t>4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 </a:t>
            </a:r>
          </a:p>
        </p:txBody>
      </p:sp>
    </p:spTree>
    <p:extLst>
      <p:ext uri="{BB962C8B-B14F-4D97-AF65-F5344CB8AC3E}">
        <p14:creationId xmlns:p14="http://schemas.microsoft.com/office/powerpoint/2010/main" xmlns="" val="3734728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6" name="Rectangle 45">
            <a:extLst>
              <a:ext uri="{FF2B5EF4-FFF2-40B4-BE49-F238E27FC236}">
                <a16:creationId xmlns:a16="http://schemas.microsoft.com/office/drawing/2014/main" xmlns="" id="{9B76D444-2756-434F-AE61-96D69830C13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914171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D18D232A-E221-4DB8-BDAD-CB8B76DDD700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52486" y="272115"/>
            <a:ext cx="8582778" cy="4540713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A27B6159-7734-4564-9E0F-C4BC43C36E5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ltGray">
          <a:xfrm>
            <a:off x="241173" y="4782312"/>
            <a:ext cx="8661654" cy="1755648"/>
          </a:xfrm>
          <a:prstGeom prst="rect">
            <a:avLst/>
          </a:prstGeom>
          <a:solidFill>
            <a:schemeClr val="tx1">
              <a:alpha val="93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le 3">
            <a:extLst>
              <a:ext uri="{FF2B5EF4-FFF2-40B4-BE49-F238E27FC236}">
                <a16:creationId xmlns:a16="http://schemas.microsoft.com/office/drawing/2014/main" xmlns="" id="{06EC7DFA-AC8F-4349-B77F-69A75628C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5009083"/>
            <a:ext cx="2167128" cy="134599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2300" b="1" dirty="0">
                <a:solidFill>
                  <a:schemeClr val="bg1"/>
                </a:solidFill>
              </a:rPr>
              <a:t>Rural Overview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E2FFB46B-05BC-4950-B18A-9593FDAE6ED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CxnSpPr>
        <p:spPr>
          <a:xfrm flipV="1">
            <a:off x="3044952" y="5237979"/>
            <a:ext cx="0" cy="914400"/>
          </a:xfrm>
          <a:prstGeom prst="line">
            <a:avLst/>
          </a:prstGeom>
          <a:ln w="19050">
            <a:solidFill>
              <a:schemeClr val="bg1">
                <a:alpha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39C89D7-C86C-4E32-BCE8-D5B1E5C0B2A3}"/>
              </a:ext>
            </a:extLst>
          </p:cNvPr>
          <p:cNvSpPr txBox="1"/>
          <p:nvPr/>
        </p:nvSpPr>
        <p:spPr>
          <a:xfrm>
            <a:off x="3187826" y="4930755"/>
            <a:ext cx="5560637" cy="15727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228600" lvl="0" indent="-1714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similar plateau in case numbers is being seen in the rural districts as well.</a:t>
            </a:r>
            <a:endParaRPr lang="en-US" sz="13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marR="0" lvl="0" indent="-17145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exception is Central Karoo, which is having a high percent increase in case numbers, although the absolute numbers there are small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F7263B31-1013-4442-9C8C-0776871D1F4F}"/>
              </a:ext>
            </a:extLst>
          </p:cNvPr>
          <p:cNvSpPr txBox="1"/>
          <p:nvPr/>
        </p:nvSpPr>
        <p:spPr>
          <a:xfrm>
            <a:off x="2798064" y="1833832"/>
            <a:ext cx="2140340" cy="588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%  in last wk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11</a:t>
            </a:r>
            <a:r>
              <a:rPr lang="en-US" sz="1400" dirty="0">
                <a:solidFill>
                  <a:srgbClr val="FF0000"/>
                </a:solidFill>
              </a:rPr>
              <a:t> July – 18 July 2021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2DFE0B50-4942-484E-9590-80F42D9E0098}"/>
              </a:ext>
            </a:extLst>
          </p:cNvPr>
          <p:cNvSpPr txBox="1"/>
          <p:nvPr/>
        </p:nvSpPr>
        <p:spPr>
          <a:xfrm>
            <a:off x="1147960" y="2590048"/>
            <a:ext cx="648072" cy="309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FF0000"/>
                </a:solidFill>
                <a:latin typeface="Calibri" panose="020F0502020204030204"/>
              </a:defRPr>
            </a:lvl1pPr>
          </a:lstStyle>
          <a:p>
            <a:r>
              <a:rPr lang="en-US" dirty="0"/>
              <a:t>5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87664266-9D30-4993-BCD5-925272DFAA53}"/>
              </a:ext>
            </a:extLst>
          </p:cNvPr>
          <p:cNvSpPr txBox="1"/>
          <p:nvPr/>
        </p:nvSpPr>
        <p:spPr>
          <a:xfrm>
            <a:off x="1147960" y="1094633"/>
            <a:ext cx="648072" cy="309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0">
                <a:solidFill>
                  <a:srgbClr val="FF0000"/>
                </a:solidFill>
                <a:latin typeface="Calibri" panose="020F0502020204030204"/>
              </a:defRPr>
            </a:lvl1pPr>
          </a:lstStyle>
          <a:p>
            <a:r>
              <a:rPr lang="en-US" dirty="0"/>
              <a:t>8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EE5312E1-93F2-43EC-A154-EF05016D9354}"/>
              </a:ext>
            </a:extLst>
          </p:cNvPr>
          <p:cNvSpPr txBox="1"/>
          <p:nvPr/>
        </p:nvSpPr>
        <p:spPr>
          <a:xfrm>
            <a:off x="1147960" y="3957998"/>
            <a:ext cx="648072" cy="309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%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3149215B-845F-4D20-AC84-94E5D3C597BB}"/>
              </a:ext>
            </a:extLst>
          </p:cNvPr>
          <p:cNvSpPr txBox="1"/>
          <p:nvPr/>
        </p:nvSpPr>
        <p:spPr>
          <a:xfrm>
            <a:off x="3184600" y="3957998"/>
            <a:ext cx="604339" cy="309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>
                <a:solidFill>
                  <a:srgbClr val="FF0000"/>
                </a:solidFill>
                <a:latin typeface="Calibri" panose="020F0502020204030204"/>
              </a:rPr>
              <a:t>-10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7CD564E0-5B8C-4633-AA50-797CEE78E4DF}"/>
              </a:ext>
            </a:extLst>
          </p:cNvPr>
          <p:cNvSpPr txBox="1"/>
          <p:nvPr/>
        </p:nvSpPr>
        <p:spPr>
          <a:xfrm>
            <a:off x="4570857" y="3914402"/>
            <a:ext cx="950494" cy="371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0000"/>
                </a:solidFill>
                <a:latin typeface="Calibri" panose="020F0502020204030204"/>
              </a:rPr>
              <a:t>55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9895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yPDc+YGAsVDnrAdBfm5OLomapWE3kVAqh9b2jawd28kRYNSZ2VM9Zq8jLnRQsKd+zm3flYlSQ3N6EyKkSMGAbtXZPDAgzPCqp12cLtaehhktX0tL2QJLqhJXT50rTZFve8mXKum9VLtDf8/Ef4PJE20Wfd9sEmg5jcWpaEZMyas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0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4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9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5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7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8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2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1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7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8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3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WCGH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8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78202CB7ED954397F173524F61860E" ma:contentTypeVersion="13" ma:contentTypeDescription="Create a new document." ma:contentTypeScope="" ma:versionID="7664ec56746ebb9da6aeb8d7e7052e10">
  <xsd:schema xmlns:xsd="http://www.w3.org/2001/XMLSchema" xmlns:xs="http://www.w3.org/2001/XMLSchema" xmlns:p="http://schemas.microsoft.com/office/2006/metadata/properties" xmlns:ns3="f30499d5-6c1a-4749-8333-c9ac3feca137" xmlns:ns4="2b32963d-efbb-428e-a395-a8a697098a5f" targetNamespace="http://schemas.microsoft.com/office/2006/metadata/properties" ma:root="true" ma:fieldsID="af4c0d99727b5354933912092a545ff5" ns3:_="" ns4:_="">
    <xsd:import namespace="f30499d5-6c1a-4749-8333-c9ac3feca137"/>
    <xsd:import namespace="2b32963d-efbb-428e-a395-a8a697098a5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0499d5-6c1a-4749-8333-c9ac3feca1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32963d-efbb-428e-a395-a8a697098a5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2F44A0B-A16A-4101-A743-87DE5934B4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0499d5-6c1a-4749-8333-c9ac3feca137"/>
    <ds:schemaRef ds:uri="2b32963d-efbb-428e-a395-a8a697098a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9437E67-15E5-4FC2-A244-11F0BBBF3B26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2b32963d-efbb-428e-a395-a8a697098a5f"/>
    <ds:schemaRef ds:uri="http://purl.org/dc/elements/1.1/"/>
    <ds:schemaRef ds:uri="f30499d5-6c1a-4749-8333-c9ac3feca13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D605EAF-797F-43FB-BFA8-D2EF279957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74</TotalTime>
  <Words>5081</Words>
  <Application>Microsoft Office PowerPoint</Application>
  <PresentationFormat>On-screen Show (4:3)</PresentationFormat>
  <Paragraphs>1105</Paragraphs>
  <Slides>71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2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1</vt:i4>
      </vt:variant>
    </vt:vector>
  </HeadingPairs>
  <TitlesOfParts>
    <vt:vector size="95" baseType="lpstr">
      <vt:lpstr>WCG-PPT Master-121022-amc</vt:lpstr>
      <vt:lpstr>2_WCG-PPT Master-121022-amc</vt:lpstr>
      <vt:lpstr>3_WCG-PPT Master-121022-amc</vt:lpstr>
      <vt:lpstr>7_WCG-PPT Master-121022-amc</vt:lpstr>
      <vt:lpstr>8_WCG-PPT Master-121022-amc</vt:lpstr>
      <vt:lpstr>13_WCG-PPT Master-121022-amc</vt:lpstr>
      <vt:lpstr>WCGH</vt:lpstr>
      <vt:lpstr>18_WCG-PPT Master-121022-amc</vt:lpstr>
      <vt:lpstr>11_WCG-PPT Master-121022-amc</vt:lpstr>
      <vt:lpstr>Custom Design</vt:lpstr>
      <vt:lpstr>10_WCG-PPT Master-121022-amc</vt:lpstr>
      <vt:lpstr>4_Western Cape Government Master Template</vt:lpstr>
      <vt:lpstr>9_WCG-PPT Master-121022-amc</vt:lpstr>
      <vt:lpstr>1_Office Theme</vt:lpstr>
      <vt:lpstr>15_WCG-PPT Master-121022-amc</vt:lpstr>
      <vt:lpstr>5_Office Theme</vt:lpstr>
      <vt:lpstr>17_WCG-PPT Master-121022-amc</vt:lpstr>
      <vt:lpstr>8_Office Theme</vt:lpstr>
      <vt:lpstr>2_Office Theme</vt:lpstr>
      <vt:lpstr>12_WCG-PPT Master-121022-amc</vt:lpstr>
      <vt:lpstr>1_WCG-PPT Master-121022-amc</vt:lpstr>
      <vt:lpstr>Office Theme</vt:lpstr>
      <vt:lpstr>1_Western Cape Government Master Template</vt:lpstr>
      <vt:lpstr>think-cell Slide</vt:lpstr>
      <vt:lpstr>Slide 1</vt:lpstr>
      <vt:lpstr>Overview </vt:lpstr>
      <vt:lpstr>Slide 3</vt:lpstr>
      <vt:lpstr>Slide 4</vt:lpstr>
      <vt:lpstr>Current reproduction number (Western Cape)</vt:lpstr>
      <vt:lpstr>Slide 6</vt:lpstr>
      <vt:lpstr>Provincial Overview</vt:lpstr>
      <vt:lpstr>Metro Overview</vt:lpstr>
      <vt:lpstr>Rural Overview</vt:lpstr>
      <vt:lpstr>Slide 10</vt:lpstr>
      <vt:lpstr>Currently admitted patients</vt:lpstr>
      <vt:lpstr>Slide 12</vt:lpstr>
      <vt:lpstr>Slide 13</vt:lpstr>
      <vt:lpstr>Comparing the 3 waves</vt:lpstr>
      <vt:lpstr>Triangulating with wastewater</vt:lpstr>
      <vt:lpstr>Update on delta variant in WC</vt:lpstr>
      <vt:lpstr>Slide 17</vt:lpstr>
      <vt:lpstr>Slide 18</vt:lpstr>
      <vt:lpstr>Slide 19</vt:lpstr>
      <vt:lpstr>Slide 20</vt:lpstr>
      <vt:lpstr>Slide 21</vt:lpstr>
      <vt:lpstr>Western Cape 3rd wave advisory</vt:lpstr>
      <vt:lpstr>3rd warning indicator </vt:lpstr>
      <vt:lpstr>Google mobility data  – percentage change in mobility in relation to restrictions</vt:lpstr>
      <vt:lpstr>In the midst of the Mitigation Paradigm</vt:lpstr>
      <vt:lpstr>Acute service platform – scaling up COVID capacity</vt:lpstr>
      <vt:lpstr>Acute service platform – current picture</vt:lpstr>
      <vt:lpstr>Slide 28</vt:lpstr>
      <vt:lpstr>COVID-19 Bed Capacity (Public Sector)</vt:lpstr>
      <vt:lpstr>Oxygen Delivery Capacity (Public Sector)</vt:lpstr>
      <vt:lpstr>Oxygen utilisation – general comments</vt:lpstr>
      <vt:lpstr>Slide 32</vt:lpstr>
      <vt:lpstr>Slide 33</vt:lpstr>
      <vt:lpstr>Preparing and Caring for our People – 3rd Wave</vt:lpstr>
      <vt:lpstr>Additional Staff Capacity (Public Sector)</vt:lpstr>
      <vt:lpstr>Departmental</vt:lpstr>
      <vt:lpstr>Slide 37</vt:lpstr>
      <vt:lpstr>Western Cape Timeline to date</vt:lpstr>
      <vt:lpstr>Western Cape Timeline going forward</vt:lpstr>
      <vt:lpstr>Vaccine update: Phases and Prioritisation Groups  </vt:lpstr>
      <vt:lpstr>Phase 2 and Phase 3: NDoH Timelines and Target Population</vt:lpstr>
      <vt:lpstr>Strategy</vt:lpstr>
      <vt:lpstr>Planned Public Sector Sites: Metro &amp; Rural for Phase 2 </vt:lpstr>
      <vt:lpstr>Private Sector Sites as at 20 July 2021</vt:lpstr>
      <vt:lpstr>Vaccines Administered: Phase 1b and Phase 2</vt:lpstr>
      <vt:lpstr>Vaccinations Administered Against Weekly Targets</vt:lpstr>
      <vt:lpstr>Fully Vaccinated as at 21 July 2021</vt:lpstr>
      <vt:lpstr>Rollout of Essential Worker Programme in the Public Sector</vt:lpstr>
      <vt:lpstr>CTICC Vaccination Centre of Hope</vt:lpstr>
      <vt:lpstr>Mass vaccination at Athlone Stadium</vt:lpstr>
      <vt:lpstr>Slide 51</vt:lpstr>
      <vt:lpstr>Slide 52</vt:lpstr>
      <vt:lpstr>Slide 53</vt:lpstr>
      <vt:lpstr>Slide 54</vt:lpstr>
      <vt:lpstr>Slide 55</vt:lpstr>
      <vt:lpstr>Slide 56</vt:lpstr>
      <vt:lpstr>Slide 57</vt:lpstr>
      <vt:lpstr>Slide 58</vt:lpstr>
      <vt:lpstr>Key Lessons from the first 9 weeks</vt:lpstr>
      <vt:lpstr>Slide 60</vt:lpstr>
      <vt:lpstr>EVDS Registrations: &gt;35 years as at 21 July 2021</vt:lpstr>
      <vt:lpstr>Slide 62</vt:lpstr>
      <vt:lpstr>Slide 63</vt:lpstr>
      <vt:lpstr>Keeping Safe Messaging</vt:lpstr>
      <vt:lpstr>Vaccination messaging: Walk-in priority groups</vt:lpstr>
      <vt:lpstr>Stories about expanding access</vt:lpstr>
      <vt:lpstr>Keeping communities informed</vt:lpstr>
      <vt:lpstr>Message for 35yr to 49yr olds</vt:lpstr>
      <vt:lpstr>Slide 69</vt:lpstr>
      <vt:lpstr>Concluding remarks</vt:lpstr>
      <vt:lpstr>Slide 7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adiq Kariem</dc:creator>
  <cp:lastModifiedBy>USER</cp:lastModifiedBy>
  <cp:revision>827</cp:revision>
  <dcterms:created xsi:type="dcterms:W3CDTF">2021-01-18T15:54:07Z</dcterms:created>
  <dcterms:modified xsi:type="dcterms:W3CDTF">2021-07-23T13:40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78202CB7ED954397F173524F61860E</vt:lpwstr>
  </property>
</Properties>
</file>